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2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3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theme/theme4.xml" ContentType="application/vnd.openxmlformats-officedocument.them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theme/theme5.xml" ContentType="application/vnd.openxmlformats-officedocument.them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theme/theme6.xml" ContentType="application/vnd.openxmlformats-officedocument.theme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theme/theme7.xml" ContentType="application/vnd.openxmlformats-officedocument.theme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theme/theme8.xml" ContentType="application/vnd.openxmlformats-officedocument.theme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theme/theme9.xml" ContentType="application/vnd.openxmlformats-officedocument.theme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theme/theme10.xml" ContentType="application/vnd.openxmlformats-officedocument.theme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theme/theme11.xml" ContentType="application/vnd.openxmlformats-officedocument.theme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theme/theme12.xml" ContentType="application/vnd.openxmlformats-officedocument.theme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theme/theme13.xml" ContentType="application/vnd.openxmlformats-officedocument.theme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theme/theme14.xml" ContentType="application/vnd.openxmlformats-officedocument.theme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theme/theme15.xml" ContentType="application/vnd.openxmlformats-officedocument.theme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heme/theme16.xml" ContentType="application/vnd.openxmlformats-officedocument.theme+xml"/>
  <Override PartName="/ppt/theme/theme17.xml" ContentType="application/vnd.openxmlformats-officedocument.theme+xml"/>
  <Override PartName="/ppt/notesSlides/notesSlide1.xml" ContentType="application/vnd.openxmlformats-officedocument.presentationml.notesSlide+xml"/>
  <Override PartName="/ppt/tags/tag60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17" r:id="rId1"/>
    <p:sldMasterId id="2147485184" r:id="rId2"/>
    <p:sldMasterId id="2147485190" r:id="rId3"/>
    <p:sldMasterId id="2147485259" r:id="rId4"/>
    <p:sldMasterId id="2147485328" r:id="rId5"/>
    <p:sldMasterId id="2147485397" r:id="rId6"/>
    <p:sldMasterId id="2147485466" r:id="rId7"/>
    <p:sldMasterId id="2147485473" r:id="rId8"/>
    <p:sldMasterId id="2147485480" r:id="rId9"/>
    <p:sldMasterId id="2147485546" r:id="rId10"/>
    <p:sldMasterId id="2147485723" r:id="rId11"/>
    <p:sldMasterId id="2147485729" r:id="rId12"/>
    <p:sldMasterId id="2147485797" r:id="rId13"/>
    <p:sldMasterId id="2147485863" r:id="rId14"/>
    <p:sldMasterId id="2147485869" r:id="rId15"/>
  </p:sldMasterIdLst>
  <p:notesMasterIdLst>
    <p:notesMasterId r:id="rId21"/>
  </p:notesMasterIdLst>
  <p:handoutMasterIdLst>
    <p:handoutMasterId r:id="rId22"/>
  </p:handoutMasterIdLst>
  <p:sldIdLst>
    <p:sldId id="559" r:id="rId16"/>
    <p:sldId id="522" r:id="rId17"/>
    <p:sldId id="526" r:id="rId18"/>
    <p:sldId id="566" r:id="rId19"/>
    <p:sldId id="569" r:id="rId20"/>
  </p:sldIdLst>
  <p:sldSz cx="12192000" cy="6858000"/>
  <p:notesSz cx="9236075" cy="6950075"/>
  <p:custShowLst>
    <p:custShow name="Format Guide Workshop" id="0">
      <p:sldLst/>
    </p:custShow>
  </p:custShowLst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7BC9D"/>
    <a:srgbClr val="ECDD94"/>
    <a:srgbClr val="F7F7F7"/>
    <a:srgbClr val="E9F0F3"/>
    <a:srgbClr val="8C8C8C"/>
    <a:srgbClr val="797979"/>
    <a:srgbClr val="F2F2F2"/>
    <a:srgbClr val="E2E2E2"/>
    <a:srgbClr val="0070C0"/>
    <a:srgbClr val="04396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5" autoAdjust="0"/>
    <p:restoredTop sz="95742" autoAdjust="0"/>
  </p:normalViewPr>
  <p:slideViewPr>
    <p:cSldViewPr>
      <p:cViewPr varScale="1">
        <p:scale>
          <a:sx n="86" d="100"/>
          <a:sy n="86" d="100"/>
        </p:scale>
        <p:origin x="90" y="25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>
      <p:cViewPr varScale="1">
        <p:scale>
          <a:sx n="105" d="100"/>
          <a:sy n="105" d="100"/>
        </p:scale>
        <p:origin x="120" y="180"/>
      </p:cViewPr>
      <p:guideLst/>
    </p:cSldViewPr>
  </p:notesViewPr>
  <p:gridSpacing cx="91439" cy="9143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3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2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tags" Target="tags/tag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4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4002299" cy="348711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31641" y="2"/>
            <a:ext cx="4002299" cy="348711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10/22/2018</a:t>
            </a:fld>
            <a:endParaRPr lang="en-US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6601367"/>
            <a:ext cx="4002299" cy="34871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31641" y="6601367"/>
            <a:ext cx="4002299" cy="34871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5406893"/>
            <a:ext cx="9233938" cy="154318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09538" y="2"/>
            <a:ext cx="3892763" cy="348711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8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31641" y="2"/>
            <a:ext cx="3894897" cy="348711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800"/>
            </a:lvl1pPr>
          </a:lstStyle>
          <a:p>
            <a:fld id="{3AD9BDA7-98EF-4344-B91C-30A07E8A84B0}" type="datetimeFigureOut">
              <a:rPr lang="en-US" smtClean="0"/>
              <a:pPr/>
              <a:t>10/2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209550"/>
            <a:ext cx="9017000" cy="507206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4053" y="5490869"/>
            <a:ext cx="8987970" cy="674425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09538" y="6601367"/>
            <a:ext cx="3892763" cy="34871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8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31642" y="6601367"/>
            <a:ext cx="3880382" cy="34871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800"/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 mod="1">
    <p:ext uri="{620B2872-D7B9-4A21-9093-7833F8D536E1}">
      <p15:sldGuideLst xmlns:p15="http://schemas.microsoft.com/office/powerpoint/2012/main">
        <p15:guide id="1" orient="horz" pos="2190" userDrawn="1">
          <p15:clr>
            <a:srgbClr val="F26B43"/>
          </p15:clr>
        </p15:guide>
        <p15:guide id="2" pos="290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45209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6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8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9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0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1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3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5.xml"/><Relationship Id="rId4" Type="http://schemas.microsoft.com/office/2007/relationships/hdphoto" Target="../media/hdphoto1.wdp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6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7.xml"/><Relationship Id="rId4" Type="http://schemas.microsoft.com/office/2007/relationships/hdphoto" Target="../media/hdphoto1.wdp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8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9.xml"/><Relationship Id="rId4" Type="http://schemas.microsoft.com/office/2007/relationships/hdphoto" Target="../media/hdphoto1.wdp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0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1.xml"/><Relationship Id="rId4" Type="http://schemas.microsoft.com/office/2007/relationships/hdphoto" Target="../media/hdphoto1.wdp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2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3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microsoft.com/office/2007/relationships/hdphoto" Target="../media/hdphoto1.wdp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4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5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6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7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8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9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7" Type="http://schemas.openxmlformats.org/officeDocument/2006/relationships/image" Target="../media/image4.png"/><Relationship Id="rId2" Type="http://schemas.openxmlformats.org/officeDocument/2006/relationships/tags" Target="../tags/tag12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7" Type="http://schemas.openxmlformats.org/officeDocument/2006/relationships/image" Target="../media/image4.png"/><Relationship Id="rId2" Type="http://schemas.openxmlformats.org/officeDocument/2006/relationships/tags" Target="../tags/tag13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microsoft.com/office/2007/relationships/hdphoto" Target="../media/hdphoto1.wdp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5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6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8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9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0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1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2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4.xml"/><Relationship Id="rId4" Type="http://schemas.microsoft.com/office/2007/relationships/hdphoto" Target="../media/hdphoto1.wdp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5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6.xml"/><Relationship Id="rId4" Type="http://schemas.microsoft.com/office/2007/relationships/hdphoto" Target="../media/hdphoto1.wdp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7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8.xml"/><Relationship Id="rId4" Type="http://schemas.microsoft.com/office/2007/relationships/hdphoto" Target="../media/hdphoto1.wdp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9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0.xml"/><Relationship Id="rId4" Type="http://schemas.microsoft.com/office/2007/relationships/hdphoto" Target="../media/hdphoto1.wdp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1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2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microsoft.com/office/2007/relationships/hdphoto" Target="../media/hdphoto1.wdp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3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4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5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6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7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8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9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0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1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2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3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4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5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6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7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8.xml"/><Relationship Id="rId4" Type="http://schemas.microsoft.com/office/2007/relationships/hdphoto" Target="../media/hdphoto1.wdp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microsoft.com/office/2007/relationships/hdphoto" Target="../media/hdphoto1.wdp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0.xml"/><Relationship Id="rId4" Type="http://schemas.microsoft.com/office/2007/relationships/hdphoto" Target="../media/hdphoto1.wdp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1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2.xml"/><Relationship Id="rId4" Type="http://schemas.microsoft.com/office/2007/relationships/hdphoto" Target="../media/hdphoto1.wdp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3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4.xml"/><Relationship Id="rId4" Type="http://schemas.microsoft.com/office/2007/relationships/hdphoto" Target="../media/hdphoto1.wdp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5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6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7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9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0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1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2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tags" Target="../tags/tag184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7" Type="http://schemas.openxmlformats.org/officeDocument/2006/relationships/image" Target="../media/image4.png"/><Relationship Id="rId2" Type="http://schemas.openxmlformats.org/officeDocument/2006/relationships/tags" Target="../tags/tag18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7" Type="http://schemas.openxmlformats.org/officeDocument/2006/relationships/image" Target="../media/image4.png"/><Relationship Id="rId2" Type="http://schemas.openxmlformats.org/officeDocument/2006/relationships/tags" Target="../tags/tag193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6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8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9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0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1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2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3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4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5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6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7.xml"/><Relationship Id="rId4" Type="http://schemas.microsoft.com/office/2007/relationships/hdphoto" Target="../media/hdphoto1.wdp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8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9.xml"/><Relationship Id="rId4" Type="http://schemas.microsoft.com/office/2007/relationships/hdphoto" Target="../media/hdphoto1.wdp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0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1.xml"/><Relationship Id="rId4" Type="http://schemas.microsoft.com/office/2007/relationships/hdphoto" Target="../media/hdphoto1.wdp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2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3.xml"/><Relationship Id="rId4" Type="http://schemas.microsoft.com/office/2007/relationships/hdphoto" Target="../media/hdphoto1.wdp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4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5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6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7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8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9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0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1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2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3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5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6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7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8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9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0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1.xml"/><Relationship Id="rId4" Type="http://schemas.microsoft.com/office/2007/relationships/hdphoto" Target="../media/hdphoto1.wdp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2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3.xml"/><Relationship Id="rId4" Type="http://schemas.microsoft.com/office/2007/relationships/hdphoto" Target="../media/hdphoto1.wdp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5.xml"/><Relationship Id="rId4" Type="http://schemas.microsoft.com/office/2007/relationships/hdphoto" Target="../media/hdphoto1.wdp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6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7.xml"/><Relationship Id="rId4" Type="http://schemas.microsoft.com/office/2007/relationships/hdphoto" Target="../media/hdphoto1.wdp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8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9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0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1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2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4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5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tags" Target="../tags/tag247.xml"/><Relationship Id="rId2" Type="http://schemas.openxmlformats.org/officeDocument/2006/relationships/tags" Target="../tags/tag246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5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tags" Target="../tags/tag251.xml"/><Relationship Id="rId7" Type="http://schemas.openxmlformats.org/officeDocument/2006/relationships/image" Target="../media/image4.png"/><Relationship Id="rId2" Type="http://schemas.openxmlformats.org/officeDocument/2006/relationships/tags" Target="../tags/tag25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5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tags" Target="../tags/tag253.xml"/><Relationship Id="rId2" Type="http://schemas.openxmlformats.org/officeDocument/2006/relationships/tags" Target="../tags/tag252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5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4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5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tags" Target="../tags/tag257.xml"/><Relationship Id="rId7" Type="http://schemas.openxmlformats.org/officeDocument/2006/relationships/image" Target="../media/image4.png"/><Relationship Id="rId2" Type="http://schemas.openxmlformats.org/officeDocument/2006/relationships/tags" Target="../tags/tag256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5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8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59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61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62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63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64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65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66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67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68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69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0.xml"/><Relationship Id="rId4" Type="http://schemas.microsoft.com/office/2007/relationships/hdphoto" Target="../media/hdphoto1.wdp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1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2.xml"/><Relationship Id="rId4" Type="http://schemas.microsoft.com/office/2007/relationships/hdphoto" Target="../media/hdphoto1.wdp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4.xml"/><Relationship Id="rId4" Type="http://schemas.microsoft.com/office/2007/relationships/hdphoto" Target="../media/hdphoto1.wdp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5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6.xml"/><Relationship Id="rId4" Type="http://schemas.microsoft.com/office/2007/relationships/hdphoto" Target="../media/hdphoto1.wdp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7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8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9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80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81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8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83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84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85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86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87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88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89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90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91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92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93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94.xml"/><Relationship Id="rId4" Type="http://schemas.microsoft.com/office/2007/relationships/hdphoto" Target="../media/hdphoto1.wdp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95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96.xml"/><Relationship Id="rId4" Type="http://schemas.microsoft.com/office/2007/relationships/hdphoto" Target="../media/hdphoto1.wdp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97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98.xml"/><Relationship Id="rId4" Type="http://schemas.microsoft.com/office/2007/relationships/hdphoto" Target="../media/hdphoto1.wdp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9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00.xml"/><Relationship Id="rId4" Type="http://schemas.microsoft.com/office/2007/relationships/hdphoto" Target="../media/hdphoto1.wdp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301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302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303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04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305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306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307.xml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308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tags" Target="../tags/tag310.xml"/><Relationship Id="rId2" Type="http://schemas.openxmlformats.org/officeDocument/2006/relationships/tags" Target="../tags/tag309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6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11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12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tags" Target="../tags/tag314.xml"/><Relationship Id="rId7" Type="http://schemas.openxmlformats.org/officeDocument/2006/relationships/image" Target="../media/image4.png"/><Relationship Id="rId2" Type="http://schemas.openxmlformats.org/officeDocument/2006/relationships/tags" Target="../tags/tag313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6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tags" Target="../tags/tag316.xml"/><Relationship Id="rId2" Type="http://schemas.openxmlformats.org/officeDocument/2006/relationships/tags" Target="../tags/tag315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6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17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18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tags" Target="../tags/tag320.xml"/><Relationship Id="rId7" Type="http://schemas.openxmlformats.org/officeDocument/2006/relationships/image" Target="../media/image4.png"/><Relationship Id="rId2" Type="http://schemas.openxmlformats.org/officeDocument/2006/relationships/tags" Target="../tags/tag319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6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21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322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6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6.bin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7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7.bin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8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8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32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60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33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1.bin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34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336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337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338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39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40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41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42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43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44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45.xml"/><Relationship Id="rId4" Type="http://schemas.microsoft.com/office/2007/relationships/hdphoto" Target="../media/hdphoto1.wdp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46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47.xml"/><Relationship Id="rId4" Type="http://schemas.microsoft.com/office/2007/relationships/hdphoto" Target="../media/hdphoto1.wdp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48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49.xml"/><Relationship Id="rId4" Type="http://schemas.microsoft.com/office/2007/relationships/hdphoto" Target="../media/hdphoto1.wdp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50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51.xml"/><Relationship Id="rId4" Type="http://schemas.microsoft.com/office/2007/relationships/hdphoto" Target="../media/hdphoto1.wdp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352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353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354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355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356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357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358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359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360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361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62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63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64.xml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6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66.xml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67.xml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68.xml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69.xml"/><Relationship Id="rId4" Type="http://schemas.microsoft.com/office/2007/relationships/hdphoto" Target="../media/hdphoto1.wdp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70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71.xml"/><Relationship Id="rId4" Type="http://schemas.microsoft.com/office/2007/relationships/hdphoto" Target="../media/hdphoto1.wdp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72.xml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73.xml"/><Relationship Id="rId4" Type="http://schemas.microsoft.com/office/2007/relationships/hdphoto" Target="../media/hdphoto1.wdp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74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75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microsoft.com/office/2007/relationships/hdphoto" Target="../media/hdphoto1.wdp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376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377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378.xml"/></Relationships>
</file>

<file path=ppt/slideLayouts/_rels/slideLayout4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79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380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381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382.xml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38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tags" Target="../tags/tag385.xml"/><Relationship Id="rId2" Type="http://schemas.openxmlformats.org/officeDocument/2006/relationships/tags" Target="../tags/tag384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9.xml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86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87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tags" Target="../tags/tag389.xml"/><Relationship Id="rId7" Type="http://schemas.openxmlformats.org/officeDocument/2006/relationships/image" Target="../media/image4.png"/><Relationship Id="rId2" Type="http://schemas.openxmlformats.org/officeDocument/2006/relationships/tags" Target="../tags/tag388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9.xml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tags" Target="../tags/tag391.xml"/><Relationship Id="rId2" Type="http://schemas.openxmlformats.org/officeDocument/2006/relationships/tags" Target="../tags/tag390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9.xml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92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93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tags" Target="../tags/tag395.xml"/><Relationship Id="rId7" Type="http://schemas.openxmlformats.org/officeDocument/2006/relationships/image" Target="../media/image4.png"/><Relationship Id="rId2" Type="http://schemas.openxmlformats.org/officeDocument/2006/relationships/tags" Target="../tags/tag394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9.xml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96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microsoft.com/office/2007/relationships/hdphoto" Target="../media/hdphoto1.wdp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98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99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00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01.xml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02.xml"/></Relationships>
</file>

<file path=ppt/slideLayouts/_rels/slideLayout4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03.xml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04.xml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05.xml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0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_rels/slideLayout4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07.xml"/><Relationship Id="rId4" Type="http://schemas.microsoft.com/office/2007/relationships/hdphoto" Target="../media/hdphoto1.wdp"/></Relationships>
</file>

<file path=ppt/slideLayouts/_rels/slideLayout4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08.xml"/></Relationships>
</file>

<file path=ppt/slideLayouts/_rels/slideLayout4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09.xml"/><Relationship Id="rId4" Type="http://schemas.microsoft.com/office/2007/relationships/hdphoto" Target="../media/hdphoto1.wdp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10.xml"/></Relationships>
</file>

<file path=ppt/slideLayouts/_rels/slideLayout4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11.xml"/><Relationship Id="rId4" Type="http://schemas.microsoft.com/office/2007/relationships/hdphoto" Target="../media/hdphoto1.wdp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12.xml"/></Relationships>
</file>

<file path=ppt/slideLayouts/_rels/slideLayout4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13.xml"/><Relationship Id="rId4" Type="http://schemas.microsoft.com/office/2007/relationships/hdphoto" Target="../media/hdphoto1.wdp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14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15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microsoft.com/office/2007/relationships/hdphoto" Target="../media/hdphoto1.wdp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16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17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18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19.xml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20.xml"/></Relationships>
</file>

<file path=ppt/slideLayouts/_rels/slideLayout4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21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22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2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24.xml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25.xml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26.xml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27.xml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28.xml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29.xml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30.xml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31.xml"/><Relationship Id="rId4" Type="http://schemas.microsoft.com/office/2007/relationships/hdphoto" Target="../media/hdphoto1.wdp"/></Relationships>
</file>

<file path=ppt/slideLayouts/_rels/slideLayout4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3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4" Type="http://schemas.microsoft.com/office/2007/relationships/hdphoto" Target="../media/hdphoto1.wdp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33.xml"/><Relationship Id="rId4" Type="http://schemas.microsoft.com/office/2007/relationships/hdphoto" Target="../media/hdphoto1.wdp"/></Relationships>
</file>

<file path=ppt/slideLayouts/_rels/slideLayout4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34.xml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35.xml"/><Relationship Id="rId4" Type="http://schemas.microsoft.com/office/2007/relationships/hdphoto" Target="../media/hdphoto1.wdp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36.xml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37.xml"/><Relationship Id="rId4" Type="http://schemas.microsoft.com/office/2007/relationships/hdphoto" Target="../media/hdphoto1.wdp"/></Relationships>
</file>

<file path=ppt/slideLayouts/_rels/slideLayout4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38.xml"/></Relationships>
</file>

<file path=ppt/slideLayouts/_rels/slideLayout4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39.xml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40.xml"/></Relationships>
</file>

<file path=ppt/slideLayouts/_rels/slideLayout4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4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42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43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44.xml"/></Relationships>
</file>

<file path=ppt/slideLayouts/_rels/slideLayout4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45.xml"/></Relationships>
</file>

<file path=ppt/slideLayouts/_rels/slideLayout475.xml.rels><?xml version="1.0" encoding="UTF-8" standalone="yes"?>
<Relationships xmlns="http://schemas.openxmlformats.org/package/2006/relationships"><Relationship Id="rId3" Type="http://schemas.openxmlformats.org/officeDocument/2006/relationships/tags" Target="../tags/tag447.xml"/><Relationship Id="rId2" Type="http://schemas.openxmlformats.org/officeDocument/2006/relationships/tags" Target="../tags/tag446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slideMaster" Target="../slideMasters/slideMaster10.xml"/></Relationships>
</file>

<file path=ppt/slideLayouts/_rels/slideLayout4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48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4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49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478.xml.rels><?xml version="1.0" encoding="UTF-8" standalone="yes"?>
<Relationships xmlns="http://schemas.openxmlformats.org/package/2006/relationships"><Relationship Id="rId3" Type="http://schemas.openxmlformats.org/officeDocument/2006/relationships/tags" Target="../tags/tag451.xml"/><Relationship Id="rId7" Type="http://schemas.openxmlformats.org/officeDocument/2006/relationships/image" Target="../media/image17.png"/><Relationship Id="rId2" Type="http://schemas.openxmlformats.org/officeDocument/2006/relationships/tags" Target="../tags/tag450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10.xml"/></Relationships>
</file>

<file path=ppt/slideLayouts/_rels/slideLayout479.xml.rels><?xml version="1.0" encoding="UTF-8" standalone="yes"?>
<Relationships xmlns="http://schemas.openxmlformats.org/package/2006/relationships"><Relationship Id="rId3" Type="http://schemas.openxmlformats.org/officeDocument/2006/relationships/tags" Target="../tags/tag453.xml"/><Relationship Id="rId2" Type="http://schemas.openxmlformats.org/officeDocument/2006/relationships/tags" Target="../tags/tag452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8.bin"/><Relationship Id="rId4" Type="http://schemas.openxmlformats.org/officeDocument/2006/relationships/slideMaster" Target="../slideMasters/slideMaster10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/Relationships>
</file>

<file path=ppt/slideLayouts/_rels/slideLayout4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54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4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55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482.xml.rels><?xml version="1.0" encoding="UTF-8" standalone="yes"?>
<Relationships xmlns="http://schemas.openxmlformats.org/package/2006/relationships"><Relationship Id="rId3" Type="http://schemas.openxmlformats.org/officeDocument/2006/relationships/tags" Target="../tags/tag457.xml"/><Relationship Id="rId7" Type="http://schemas.openxmlformats.org/officeDocument/2006/relationships/image" Target="../media/image17.png"/><Relationship Id="rId2" Type="http://schemas.openxmlformats.org/officeDocument/2006/relationships/tags" Target="../tags/tag456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1.bin"/><Relationship Id="rId4" Type="http://schemas.openxmlformats.org/officeDocument/2006/relationships/slideMaster" Target="../slideMasters/slideMaster10.xml"/></Relationships>
</file>

<file path=ppt/slideLayouts/_rels/slideLayout4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58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4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59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83.bin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63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85.bin"/></Relationships>
</file>

<file path=ppt/slideLayouts/_rels/slideLayout4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64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6.bin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65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4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2.xml"/></Relationships>
</file>

<file path=ppt/slideLayouts/_rels/slideLayout49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67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68.xml"/></Relationships>
</file>

<file path=ppt/slideLayouts/_rels/slideLayout49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69.xml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70.xml"/></Relationships>
</file>

<file path=ppt/slideLayouts/_rels/slideLayout4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71.xml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72.xml"/></Relationships>
</file>

<file path=ppt/slideLayouts/_rels/slideLayout4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7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/Relationships>
</file>

<file path=ppt/slideLayouts/_rels/slideLayout5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74.xml"/></Relationships>
</file>

<file path=ppt/slideLayouts/_rels/slideLayout5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75.xml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76.xml"/><Relationship Id="rId4" Type="http://schemas.microsoft.com/office/2007/relationships/hdphoto" Target="../media/hdphoto1.wdp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77.xml"/></Relationships>
</file>

<file path=ppt/slideLayouts/_rels/slideLayout5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78.xml"/><Relationship Id="rId4" Type="http://schemas.microsoft.com/office/2007/relationships/hdphoto" Target="../media/hdphoto1.wdp"/></Relationships>
</file>

<file path=ppt/slideLayouts/_rels/slideLayout5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79.xml"/></Relationships>
</file>

<file path=ppt/slideLayouts/_rels/slideLayout5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80.xml"/><Relationship Id="rId4" Type="http://schemas.microsoft.com/office/2007/relationships/hdphoto" Target="../media/hdphoto1.wdp"/></Relationships>
</file>

<file path=ppt/slideLayouts/_rels/slideLayout5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81.xml"/></Relationships>
</file>

<file path=ppt/slideLayouts/_rels/slideLayout5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82.xml"/><Relationship Id="rId4" Type="http://schemas.microsoft.com/office/2007/relationships/hdphoto" Target="../media/hdphoto1.wdp"/></Relationships>
</file>

<file path=ppt/slideLayouts/_rels/slideLayout5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8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84.xml"/></Relationships>
</file>

<file path=ppt/slideLayouts/_rels/slideLayout5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5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85.xml"/></Relationships>
</file>

<file path=ppt/slideLayouts/_rels/slideLayout5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86.xml"/></Relationships>
</file>

<file path=ppt/slideLayouts/_rels/slideLayout5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87.xml"/></Relationships>
</file>

<file path=ppt/slideLayouts/_rels/slideLayout5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88.xml"/></Relationships>
</file>

<file path=ppt/slideLayouts/_rels/slideLayout5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2.xml"/></Relationships>
</file>

<file path=ppt/slideLayouts/_rels/slideLayout5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89.xml"/></Relationships>
</file>

<file path=ppt/slideLayouts/_rels/slideLayout5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2.xml"/></Relationships>
</file>

<file path=ppt/slideLayouts/_rels/slideLayout5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90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/Relationships>
</file>

<file path=ppt/slideLayouts/_rels/slideLayout5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91.xml"/></Relationships>
</file>

<file path=ppt/slideLayouts/_rels/slideLayout5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92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93.xml"/></Relationships>
</file>

<file path=ppt/slideLayouts/_rels/slideLayout5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94.xml"/></Relationships>
</file>

<file path=ppt/slideLayouts/_rels/slideLayout5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95.xml"/></Relationships>
</file>

<file path=ppt/slideLayouts/_rels/slideLayout5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96.xml"/></Relationships>
</file>

<file path=ppt/slideLayouts/_rels/slideLayout5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97.xml"/></Relationships>
</file>

<file path=ppt/slideLayouts/_rels/slideLayout5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98.xml"/></Relationships>
</file>

<file path=ppt/slideLayouts/_rels/slideLayout5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99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/Relationships>
</file>

<file path=ppt/slideLayouts/_rels/slideLayout5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00.xml"/><Relationship Id="rId4" Type="http://schemas.microsoft.com/office/2007/relationships/hdphoto" Target="../media/hdphoto1.wdp"/></Relationships>
</file>

<file path=ppt/slideLayouts/_rels/slideLayout5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01.xml"/></Relationships>
</file>

<file path=ppt/slideLayouts/_rels/slideLayout5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02.xml"/><Relationship Id="rId4" Type="http://schemas.microsoft.com/office/2007/relationships/hdphoto" Target="../media/hdphoto1.wdp"/></Relationships>
</file>

<file path=ppt/slideLayouts/_rels/slideLayout5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03.xml"/></Relationships>
</file>

<file path=ppt/slideLayouts/_rels/slideLayout5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04.xml"/><Relationship Id="rId4" Type="http://schemas.microsoft.com/office/2007/relationships/hdphoto" Target="../media/hdphoto1.wdp"/></Relationships>
</file>

<file path=ppt/slideLayouts/_rels/slideLayout5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05.xml"/></Relationships>
</file>

<file path=ppt/slideLayouts/_rels/slideLayout5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06.xml"/><Relationship Id="rId4" Type="http://schemas.microsoft.com/office/2007/relationships/hdphoto" Target="../media/hdphoto1.wdp"/></Relationships>
</file>

<file path=ppt/slideLayouts/_rels/slideLayout5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07.xml"/></Relationships>
</file>

<file path=ppt/slideLayouts/_rels/slideLayout5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08.xml"/></Relationships>
</file>

<file path=ppt/slideLayouts/_rels/slideLayout5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/Relationships>
</file>

<file path=ppt/slideLayouts/_rels/slideLayout5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09.xml"/></Relationships>
</file>

<file path=ppt/slideLayouts/_rels/slideLayout5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10.xml"/></Relationships>
</file>

<file path=ppt/slideLayouts/_rels/slideLayout5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11.xml"/></Relationships>
</file>

<file path=ppt/slideLayouts/_rels/slideLayout5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12.xml"/></Relationships>
</file>

<file path=ppt/slideLayouts/_rels/slideLayout5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13.xml"/></Relationships>
</file>

<file path=ppt/slideLayouts/_rels/slideLayout5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2.xml"/></Relationships>
</file>

<file path=ppt/slideLayouts/_rels/slideLayout5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14.xml"/></Relationships>
</file>

<file path=ppt/slideLayouts/_rels/slideLayout547.xml.rels><?xml version="1.0" encoding="UTF-8" standalone="yes"?>
<Relationships xmlns="http://schemas.openxmlformats.org/package/2006/relationships"><Relationship Id="rId3" Type="http://schemas.openxmlformats.org/officeDocument/2006/relationships/tags" Target="../tags/tag516.xml"/><Relationship Id="rId2" Type="http://schemas.openxmlformats.org/officeDocument/2006/relationships/tags" Target="../tags/tag515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9.bin"/><Relationship Id="rId4" Type="http://schemas.openxmlformats.org/officeDocument/2006/relationships/slideMaster" Target="../slideMasters/slideMaster12.xml"/></Relationships>
</file>

<file path=ppt/slideLayouts/_rels/slideLayout5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17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18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tags" Target="../tags/tag520.xml"/><Relationship Id="rId7" Type="http://schemas.openxmlformats.org/officeDocument/2006/relationships/image" Target="../media/image17.png"/><Relationship Id="rId2" Type="http://schemas.openxmlformats.org/officeDocument/2006/relationships/tags" Target="../tags/tag519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2.bin"/><Relationship Id="rId4" Type="http://schemas.openxmlformats.org/officeDocument/2006/relationships/slideMaster" Target="../slideMasters/slideMaster12.xml"/></Relationships>
</file>

<file path=ppt/slideLayouts/_rels/slideLayout551.xml.rels><?xml version="1.0" encoding="UTF-8" standalone="yes"?>
<Relationships xmlns="http://schemas.openxmlformats.org/package/2006/relationships"><Relationship Id="rId3" Type="http://schemas.openxmlformats.org/officeDocument/2006/relationships/tags" Target="../tags/tag522.xml"/><Relationship Id="rId2" Type="http://schemas.openxmlformats.org/officeDocument/2006/relationships/tags" Target="../tags/tag521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3.bin"/><Relationship Id="rId4" Type="http://schemas.openxmlformats.org/officeDocument/2006/relationships/slideMaster" Target="../slideMasters/slideMaster12.xml"/></Relationships>
</file>

<file path=ppt/slideLayouts/_rels/slideLayout5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23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5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24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5.bin"/></Relationships>
</file>

<file path=ppt/slideLayouts/_rels/slideLayout554.xml.rels><?xml version="1.0" encoding="UTF-8" standalone="yes"?>
<Relationships xmlns="http://schemas.openxmlformats.org/package/2006/relationships"><Relationship Id="rId3" Type="http://schemas.openxmlformats.org/officeDocument/2006/relationships/tags" Target="../tags/tag526.xml"/><Relationship Id="rId7" Type="http://schemas.openxmlformats.org/officeDocument/2006/relationships/image" Target="../media/image17.png"/><Relationship Id="rId2" Type="http://schemas.openxmlformats.org/officeDocument/2006/relationships/tags" Target="../tags/tag525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6.bin"/><Relationship Id="rId4" Type="http://schemas.openxmlformats.org/officeDocument/2006/relationships/slideMaster" Target="../slideMasters/slideMaster12.xml"/></Relationships>
</file>

<file path=ppt/slideLayouts/_rels/slideLayout5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27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7.bin"/></Relationships>
</file>

<file path=ppt/slideLayouts/_rels/slideLayout5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28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98.bin"/></Relationships>
</file>

<file path=ppt/slideLayouts/_rels/slideLayout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3.xml"/></Relationships>
</file>

<file path=ppt/slideLayouts/_rels/slideLayout5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30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/Relationships>
</file>

<file path=ppt/slideLayouts/_rels/slideLayout5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31.xml"/></Relationships>
</file>

<file path=ppt/slideLayouts/_rels/slideLayout5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32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33.xml"/></Relationships>
</file>

<file path=ppt/slideLayouts/_rels/slideLayout5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34.xml"/></Relationships>
</file>

<file path=ppt/slideLayouts/_rels/slideLayout5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35.xml"/></Relationships>
</file>

<file path=ppt/slideLayouts/_rels/slideLayout5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36.xml"/></Relationships>
</file>

<file path=ppt/slideLayouts/_rels/slideLayout5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37.xml"/></Relationships>
</file>

<file path=ppt/slideLayouts/_rels/slideLayout5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38.xml"/></Relationships>
</file>

<file path=ppt/slideLayouts/_rels/slideLayout5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39.xml"/><Relationship Id="rId4" Type="http://schemas.microsoft.com/office/2007/relationships/hdphoto" Target="../media/hdphoto1.wdp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5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40.xml"/></Relationships>
</file>

<file path=ppt/slideLayouts/_rels/slideLayout5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41.xml"/><Relationship Id="rId4" Type="http://schemas.microsoft.com/office/2007/relationships/hdphoto" Target="../media/hdphoto1.wdp"/></Relationships>
</file>

<file path=ppt/slideLayouts/_rels/slideLayout5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42.xml"/></Relationships>
</file>

<file path=ppt/slideLayouts/_rels/slideLayout5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43.xml"/><Relationship Id="rId4" Type="http://schemas.microsoft.com/office/2007/relationships/hdphoto" Target="../media/hdphoto1.wdp"/></Relationships>
</file>

<file path=ppt/slideLayouts/_rels/slideLayout5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44.xml"/></Relationships>
</file>

<file path=ppt/slideLayouts/_rels/slideLayout5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45.xml"/><Relationship Id="rId4" Type="http://schemas.microsoft.com/office/2007/relationships/hdphoto" Target="../media/hdphoto1.wdp"/></Relationships>
</file>

<file path=ppt/slideLayouts/_rels/slideLayout5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46.xml"/></Relationships>
</file>

<file path=ppt/slideLayouts/_rels/slideLayout5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47.xml"/></Relationships>
</file>

<file path=ppt/slideLayouts/_rels/slideLayout5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5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48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49.xml"/></Relationships>
</file>

<file path=ppt/slideLayouts/_rels/slideLayout58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50.xml"/></Relationships>
</file>

<file path=ppt/slideLayouts/_rels/slideLayout5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51.xml"/></Relationships>
</file>

<file path=ppt/slideLayouts/_rels/slideLayout5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3.xml"/></Relationships>
</file>

<file path=ppt/slideLayouts/_rels/slideLayout58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52.xml"/></Relationships>
</file>

<file path=ppt/slideLayouts/_rels/slideLayout5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3.xml"/></Relationships>
</file>

<file path=ppt/slideLayouts/_rels/slideLayout58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53.xml"/></Relationships>
</file>

<file path=ppt/slideLayouts/_rels/slideLayout58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54.xml"/></Relationships>
</file>

<file path=ppt/slideLayouts/_rels/slideLayout58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55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56.xml"/></Relationships>
</file>

<file path=ppt/slideLayouts/_rels/slideLayout5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57.xml"/></Relationships>
</file>

<file path=ppt/slideLayouts/_rels/slideLayout5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58.xml"/></Relationships>
</file>

<file path=ppt/slideLayouts/_rels/slideLayout5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59.xml"/></Relationships>
</file>

<file path=ppt/slideLayouts/_rels/slideLayout5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60.xml"/></Relationships>
</file>

<file path=ppt/slideLayouts/_rels/slideLayout5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61.xml"/></Relationships>
</file>

<file path=ppt/slideLayouts/_rels/slideLayout5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62.xml"/></Relationships>
</file>

<file path=ppt/slideLayouts/_rels/slideLayout5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63.xml"/><Relationship Id="rId4" Type="http://schemas.microsoft.com/office/2007/relationships/hdphoto" Target="../media/hdphoto1.wdp"/></Relationships>
</file>

<file path=ppt/slideLayouts/_rels/slideLayout5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64.xml"/></Relationships>
</file>

<file path=ppt/slideLayouts/_rels/slideLayout5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65.xml"/><Relationship Id="rId4" Type="http://schemas.microsoft.com/office/2007/relationships/hdphoto" Target="../media/hdphoto1.wdp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4.png"/><Relationship Id="rId2" Type="http://schemas.openxmlformats.org/officeDocument/2006/relationships/tags" Target="../tags/tag5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66.xml"/></Relationships>
</file>

<file path=ppt/slideLayouts/_rels/slideLayout6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67.xml"/><Relationship Id="rId4" Type="http://schemas.microsoft.com/office/2007/relationships/hdphoto" Target="../media/hdphoto1.wdp"/></Relationships>
</file>

<file path=ppt/slideLayouts/_rels/slideLayout6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68.xml"/></Relationships>
</file>

<file path=ppt/slideLayouts/_rels/slideLayout6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69.xml"/><Relationship Id="rId4" Type="http://schemas.microsoft.com/office/2007/relationships/hdphoto" Target="../media/hdphoto1.wdp"/></Relationships>
</file>

<file path=ppt/slideLayouts/_rels/slideLayout60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70.xml"/></Relationships>
</file>

<file path=ppt/slideLayouts/_rels/slideLayout6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71.xml"/></Relationships>
</file>

<file path=ppt/slideLayouts/_rels/slideLayout6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6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72.xml"/></Relationships>
</file>

<file path=ppt/slideLayouts/_rels/slideLayout6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73.xml"/></Relationships>
</file>

<file path=ppt/slideLayouts/_rels/slideLayout6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7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75.xml"/></Relationships>
</file>

<file path=ppt/slideLayouts/_rels/slideLayout6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76.xml"/></Relationships>
</file>

<file path=ppt/slideLayouts/_rels/slideLayout6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3.xml"/></Relationships>
</file>

<file path=ppt/slideLayouts/_rels/slideLayout6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77.xml"/></Relationships>
</file>

<file path=ppt/slideLayouts/_rels/slideLayout614.xml.rels><?xml version="1.0" encoding="UTF-8" standalone="yes"?>
<Relationships xmlns="http://schemas.openxmlformats.org/package/2006/relationships"><Relationship Id="rId3" Type="http://schemas.openxmlformats.org/officeDocument/2006/relationships/tags" Target="../tags/tag579.xml"/><Relationship Id="rId2" Type="http://schemas.openxmlformats.org/officeDocument/2006/relationships/tags" Target="../tags/tag578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0.bin"/><Relationship Id="rId4" Type="http://schemas.openxmlformats.org/officeDocument/2006/relationships/slideMaster" Target="../slideMasters/slideMaster13.xml"/></Relationships>
</file>

<file path=ppt/slideLayouts/_rels/slideLayout6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80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Layouts/_rels/slideLayout6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81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2.bin"/></Relationships>
</file>

<file path=ppt/slideLayouts/_rels/slideLayout617.xml.rels><?xml version="1.0" encoding="UTF-8" standalone="yes"?>
<Relationships xmlns="http://schemas.openxmlformats.org/package/2006/relationships"><Relationship Id="rId3" Type="http://schemas.openxmlformats.org/officeDocument/2006/relationships/tags" Target="../tags/tag583.xml"/><Relationship Id="rId7" Type="http://schemas.openxmlformats.org/officeDocument/2006/relationships/image" Target="../media/image4.png"/><Relationship Id="rId2" Type="http://schemas.openxmlformats.org/officeDocument/2006/relationships/tags" Target="../tags/tag582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3.bin"/><Relationship Id="rId4" Type="http://schemas.openxmlformats.org/officeDocument/2006/relationships/slideMaster" Target="../slideMasters/slideMaster13.xml"/></Relationships>
</file>

<file path=ppt/slideLayouts/_rels/slideLayout618.xml.rels><?xml version="1.0" encoding="UTF-8" standalone="yes"?>
<Relationships xmlns="http://schemas.openxmlformats.org/package/2006/relationships"><Relationship Id="rId3" Type="http://schemas.openxmlformats.org/officeDocument/2006/relationships/tags" Target="../tags/tag585.xml"/><Relationship Id="rId2" Type="http://schemas.openxmlformats.org/officeDocument/2006/relationships/tags" Target="../tags/tag584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4.bin"/><Relationship Id="rId4" Type="http://schemas.openxmlformats.org/officeDocument/2006/relationships/slideMaster" Target="../slideMasters/slideMaster13.xml"/></Relationships>
</file>

<file path=ppt/slideLayouts/_rels/slideLayout6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86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5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87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6.bin"/></Relationships>
</file>

<file path=ppt/slideLayouts/_rels/slideLayout621.xml.rels><?xml version="1.0" encoding="UTF-8" standalone="yes"?>
<Relationships xmlns="http://schemas.openxmlformats.org/package/2006/relationships"><Relationship Id="rId3" Type="http://schemas.openxmlformats.org/officeDocument/2006/relationships/tags" Target="../tags/tag589.xml"/><Relationship Id="rId7" Type="http://schemas.openxmlformats.org/officeDocument/2006/relationships/image" Target="../media/image4.png"/><Relationship Id="rId2" Type="http://schemas.openxmlformats.org/officeDocument/2006/relationships/tags" Target="../tags/tag588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7.bin"/><Relationship Id="rId4" Type="http://schemas.openxmlformats.org/officeDocument/2006/relationships/slideMaster" Target="../slideMasters/slideMaster13.xml"/></Relationships>
</file>

<file path=ppt/slideLayouts/_rels/slideLayout6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90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8.bin"/></Relationships>
</file>

<file path=ppt/slideLayouts/_rels/slideLayout6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94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10.bin"/></Relationships>
</file>

<file path=ppt/slideLayouts/_rels/slideLayout6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95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11.bin"/></Relationships>
</file>

<file path=ppt/slideLayouts/_rels/slideLayout6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96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2.bin"/></Relationships>
</file>

<file path=ppt/slideLayouts/_rels/slideLayout6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4.xml"/></Relationships>
</file>

<file path=ppt/slideLayouts/_rels/slideLayout6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5.xml"/></Relationships>
</file>

<file path=ppt/slideLayouts/_rels/slideLayout6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00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14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6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01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15.bin"/></Relationships>
</file>

<file path=ppt/slideLayouts/_rels/slideLayout6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02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6.bin"/></Relationships>
</file>

<file path=ppt/slideLayouts/_rels/slideLayout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image" Target="../media/image4.png"/><Relationship Id="rId2" Type="http://schemas.openxmlformats.org/officeDocument/2006/relationships/tags" Target="../tags/tag6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2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9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3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6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9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0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1.xml"/><Relationship Id="rId4" Type="http://schemas.microsoft.com/office/2007/relationships/hdphoto" Target="../media/hdphoto1.wdp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3.xml"/><Relationship Id="rId4" Type="http://schemas.microsoft.com/office/2007/relationships/hdphoto" Target="../media/hdphoto1.wdp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4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5.xml"/><Relationship Id="rId4" Type="http://schemas.microsoft.com/office/2007/relationships/hdphoto" Target="../media/hdphoto1.wdp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6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7.xml"/><Relationship Id="rId4" Type="http://schemas.microsoft.com/office/2007/relationships/hdphoto" Target="../media/hdphoto1.wdp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9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0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2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3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8625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2710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708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1069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659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2739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2831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5187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7713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>
                <a:solidFill>
                  <a:schemeClr val="tx2"/>
                </a:solidFill>
              </a:rPr>
              <a:t>Click to 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9223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</a:t>
            </a:r>
            <a:r>
              <a:rPr lang="en-US" dirty="0" smtClean="0">
                <a:solidFill>
                  <a:schemeClr val="tx2"/>
                </a:solidFill>
              </a:rPr>
              <a:t>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72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405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829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6960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2766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3939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489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4004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97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9622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3009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1922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5033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7627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8125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1126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0393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790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575757"/>
                </a:solidFill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PH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857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6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FFFFFF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5400" dirty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19832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6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588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6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300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920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6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 smtClean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69843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0762B5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0762B5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019686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7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9570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7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0762B5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8422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7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 smtClean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110051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8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1254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8787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7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716568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50865"/>
          </a:xfrm>
        </p:spPr>
        <p:txBody>
          <a:bodyPr/>
          <a:lstStyle>
            <a:lvl1pPr algn="l" defTabSz="914219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00B62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342832" indent="-223794">
              <a:buClr>
                <a:srgbClr val="00BA20"/>
              </a:buClr>
              <a:defRPr sz="2000"/>
            </a:lvl1pPr>
            <a:lvl2pPr marL="795180" indent="-230142">
              <a:buClr>
                <a:srgbClr val="00BA20"/>
              </a:buClr>
              <a:defRPr sz="1700"/>
            </a:lvl2pPr>
            <a:lvl3pPr marL="1142775" indent="-228555">
              <a:buClr>
                <a:srgbClr val="00BA20"/>
              </a:buClr>
              <a:defRPr sz="1500"/>
            </a:lvl3pPr>
            <a:lvl4pPr marL="1599884" indent="-222206">
              <a:buClr>
                <a:srgbClr val="00BA20"/>
              </a:buClr>
              <a:defRPr sz="1200"/>
            </a:lvl4pPr>
            <a:lvl5pPr marL="2056993" indent="-228555">
              <a:buClr>
                <a:srgbClr val="00BA20"/>
              </a:buClr>
              <a:defRPr sz="9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659268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7337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1797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186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4245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4538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9298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7851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7782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4031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3553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</a:t>
            </a:r>
            <a:r>
              <a:rPr lang="en-US" dirty="0" smtClean="0">
                <a:solidFill>
                  <a:schemeClr val="tx2"/>
                </a:solidFill>
              </a:rPr>
              <a:t>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0288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287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3383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5729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0119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9914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0429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0028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591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0880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9243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3909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1378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5657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0411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2758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68784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575757"/>
                </a:solidFill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PH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9655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827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425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3674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6153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028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954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8643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0181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78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004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3623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5037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>
                <a:solidFill>
                  <a:schemeClr val="tx2"/>
                </a:solidFill>
              </a:rPr>
              <a:t>Click to 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0288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296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829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8461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7603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319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2635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5408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665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9859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3507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3429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2000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5221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4985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6715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859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02097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575757"/>
                </a:solidFill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PH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7466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8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FFFFFF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5400" dirty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486955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8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998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9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3034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9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 smtClean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207530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0762B5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0762B5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639548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8238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0762B5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2354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 smtClean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771863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9013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1905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7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4176216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50865"/>
          </a:xfrm>
        </p:spPr>
        <p:txBody>
          <a:bodyPr/>
          <a:lstStyle>
            <a:lvl1pPr algn="l" defTabSz="914219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00B62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342832" indent="-223794">
              <a:buClr>
                <a:srgbClr val="00BA20"/>
              </a:buClr>
              <a:defRPr sz="2000"/>
            </a:lvl1pPr>
            <a:lvl2pPr marL="795180" indent="-230142">
              <a:buClr>
                <a:srgbClr val="00BA20"/>
              </a:buClr>
              <a:defRPr sz="1700"/>
            </a:lvl2pPr>
            <a:lvl3pPr marL="1142775" indent="-228555">
              <a:buClr>
                <a:srgbClr val="00BA20"/>
              </a:buClr>
              <a:defRPr sz="1500"/>
            </a:lvl3pPr>
            <a:lvl4pPr marL="1599884" indent="-222206">
              <a:buClr>
                <a:srgbClr val="00BA20"/>
              </a:buClr>
              <a:defRPr sz="1200"/>
            </a:lvl4pPr>
            <a:lvl5pPr marL="2056993" indent="-228555">
              <a:buClr>
                <a:srgbClr val="00BA20"/>
              </a:buClr>
              <a:defRPr sz="9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76757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7729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4390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1862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861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8802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5346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3614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5675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986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7365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</a:t>
            </a:r>
            <a:r>
              <a:rPr lang="en-US" dirty="0" smtClean="0">
                <a:solidFill>
                  <a:schemeClr val="tx2"/>
                </a:solidFill>
              </a:rPr>
              <a:t>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804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5300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4350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8351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6821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0923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9156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63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2098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2180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8272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6767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6968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7613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5621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27952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575757"/>
                </a:solidFill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PH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1818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8830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9583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482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2549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3828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8531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9631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0547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3558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0751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3179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>
                <a:solidFill>
                  <a:schemeClr val="tx2"/>
                </a:solidFill>
              </a:rPr>
              <a:t>Click to 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818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915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829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0778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306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8207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441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973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865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9524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5886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0384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6877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6727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1439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1214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2474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37093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575757"/>
                </a:solidFill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PH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0013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FFFFFF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5400" dirty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01504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1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1887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1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88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1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 smtClean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402298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0762B5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0762B5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582248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2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741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2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0762B5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9926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PH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kumimoji="0" lang="en-PH" sz="10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PH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kumimoji="0" lang="en-PH" sz="10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PH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</a:t>
              </a:r>
              <a:r>
                <a:rPr kumimoji="0" lang="en-PH" sz="10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endParaRPr kumimoji="0" lang="en-PH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Trebuchet MS" panose="020B0603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PH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PH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2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 smtClean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592736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6930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8897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7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7482462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50865"/>
          </a:xfrm>
        </p:spPr>
        <p:txBody>
          <a:bodyPr/>
          <a:lstStyle>
            <a:lvl1pPr algn="l" defTabSz="914219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00B62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342832" indent="-223794">
              <a:buClr>
                <a:srgbClr val="00BA20"/>
              </a:buClr>
              <a:defRPr sz="2000"/>
            </a:lvl1pPr>
            <a:lvl2pPr marL="795180" indent="-230142">
              <a:buClr>
                <a:srgbClr val="00BA20"/>
              </a:buClr>
              <a:defRPr sz="1700"/>
            </a:lvl2pPr>
            <a:lvl3pPr marL="1142775" indent="-228555">
              <a:buClr>
                <a:srgbClr val="00BA20"/>
              </a:buClr>
              <a:defRPr sz="1500"/>
            </a:lvl3pPr>
            <a:lvl4pPr marL="1599884" indent="-222206">
              <a:buClr>
                <a:srgbClr val="00BA20"/>
              </a:buClr>
              <a:defRPr sz="1200"/>
            </a:lvl4pPr>
            <a:lvl5pPr marL="2056993" indent="-228555">
              <a:buClr>
                <a:srgbClr val="00BA20"/>
              </a:buClr>
              <a:defRPr sz="9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43817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0076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233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3732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197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0493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0345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9404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8140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4790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0587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</a:t>
            </a:r>
            <a:r>
              <a:rPr lang="en-US" dirty="0" smtClean="0">
                <a:solidFill>
                  <a:schemeClr val="tx2"/>
                </a:solidFill>
              </a:rPr>
              <a:t>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2065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9146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839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3240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4638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078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8519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750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0437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5000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5221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109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4097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9779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6470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59418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575757"/>
                </a:solidFill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PH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2519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013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163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6996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4400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416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8015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3433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3131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4789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1706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0669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>
                <a:solidFill>
                  <a:schemeClr val="tx2"/>
                </a:solidFill>
              </a:rPr>
              <a:t>Click to 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557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190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829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9014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275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6782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614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5961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09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0599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2134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0904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184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522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7597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6160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3222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1800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575757"/>
                </a:solidFill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PH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8652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3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FFFFFF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5400" dirty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335237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3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103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3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9089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4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 smtClean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715541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0762B5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0762B5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347277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8217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0762B5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5539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5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 smtClean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76911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5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7053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294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5540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7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745161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50865"/>
          </a:xfrm>
        </p:spPr>
        <p:txBody>
          <a:bodyPr/>
          <a:lstStyle>
            <a:lvl1pPr algn="l" defTabSz="914219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00B62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342832" indent="-223794">
              <a:buClr>
                <a:srgbClr val="00BA20"/>
              </a:buClr>
              <a:defRPr sz="2000"/>
            </a:lvl1pPr>
            <a:lvl2pPr marL="795180" indent="-230142">
              <a:buClr>
                <a:srgbClr val="00BA20"/>
              </a:buClr>
              <a:defRPr sz="1700"/>
            </a:lvl2pPr>
            <a:lvl3pPr marL="1142775" indent="-228555">
              <a:buClr>
                <a:srgbClr val="00BA20"/>
              </a:buClr>
              <a:defRPr sz="1500"/>
            </a:lvl3pPr>
            <a:lvl4pPr marL="1599884" indent="-222206">
              <a:buClr>
                <a:srgbClr val="00BA20"/>
              </a:buClr>
              <a:defRPr sz="1200"/>
            </a:lvl4pPr>
            <a:lvl5pPr marL="2056993" indent="-228555">
              <a:buClr>
                <a:srgbClr val="00BA20"/>
              </a:buClr>
              <a:defRPr sz="9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11086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17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70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7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75" y="1508760"/>
            <a:ext cx="11029033" cy="4617720"/>
          </a:xfrm>
        </p:spPr>
        <p:txBody>
          <a:bodyPr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95139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17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7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7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75" y="1508760"/>
            <a:ext cx="11029033" cy="4617720"/>
          </a:xfrm>
        </p:spPr>
        <p:txBody>
          <a:bodyPr lIns="0" tIns="0" rIns="0" bIns="0"/>
          <a:lstStyle>
            <a:lvl1pPr marL="171450" indent="-17145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b="0"/>
            </a:lvl1pPr>
            <a:lvl2pPr marL="622800" indent="-216000">
              <a:buFont typeface="Arial" pitchFamily="34" charset="0"/>
              <a:buChar char="–"/>
              <a:defRPr/>
            </a:lvl2pPr>
            <a:lvl3pPr marL="10800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738269895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8557122"/>
              </p:ext>
            </p:extLst>
          </p:nvPr>
        </p:nvGraphicFramePr>
        <p:xfrm>
          <a:off x="2015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5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258264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4324447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_AND_BOD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39" name="Shape 10"/>
          <p:cNvSpPr txBox="1"/>
          <p:nvPr/>
        </p:nvSpPr>
        <p:spPr>
          <a:xfrm>
            <a:off x="580475" y="6690100"/>
            <a:ext cx="1648367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SCALE AI tech &amp; supply chain vision.pptx</a:t>
            </a:r>
          </a:p>
        </p:txBody>
      </p:sp>
      <p:sp>
        <p:nvSpPr>
          <p:cNvPr id="7840" name="Shape 12"/>
          <p:cNvSpPr txBox="1"/>
          <p:nvPr/>
        </p:nvSpPr>
        <p:spPr>
          <a:xfrm rot="16200000">
            <a:off x="9763138" y="4267049"/>
            <a:ext cx="4559302" cy="17739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699" tIns="45699" rIns="45699" bIns="45699" anchor="b">
            <a:spAutoFit/>
          </a:bodyPr>
          <a:lstStyle>
            <a:lvl1pPr>
              <a:defRPr sz="700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All rights reserved.</a:t>
            </a:r>
          </a:p>
        </p:txBody>
      </p:sp>
      <p:pic>
        <p:nvPicPr>
          <p:cNvPr id="7842" name="Shape 14" descr="Shape 14"/>
          <p:cNvPicPr>
            <a:picLocks noChangeAspect="1"/>
          </p:cNvPicPr>
          <p:nvPr/>
        </p:nvPicPr>
        <p:blipFill>
          <a:blip r:embed="rId2">
            <a:extLst/>
          </a:blip>
          <a:srcRect l="5122" t="6962" r="9260" b="6448"/>
          <a:stretch>
            <a:fillRect/>
          </a:stretch>
        </p:blipFill>
        <p:spPr>
          <a:xfrm>
            <a:off x="10850826" y="108222"/>
            <a:ext cx="1195481" cy="575393"/>
          </a:xfrm>
          <a:prstGeom prst="rect">
            <a:avLst/>
          </a:prstGeom>
          <a:ln w="12700">
            <a:miter lim="400000"/>
          </a:ln>
        </p:spPr>
      </p:pic>
      <p:sp>
        <p:nvSpPr>
          <p:cNvPr id="7843" name="Title Text"/>
          <p:cNvSpPr txBox="1">
            <a:spLocks noGrp="1"/>
          </p:cNvSpPr>
          <p:nvPr>
            <p:ph type="title"/>
          </p:nvPr>
        </p:nvSpPr>
        <p:spPr>
          <a:xfrm>
            <a:off x="580474" y="161999"/>
            <a:ext cx="11033607" cy="831602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sz="2400" b="1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itle Text</a:t>
            </a:r>
          </a:p>
        </p:txBody>
      </p:sp>
      <p:sp>
        <p:nvSpPr>
          <p:cNvPr id="784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73658" y="6221750"/>
            <a:ext cx="263942" cy="269201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defRPr sz="12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3267027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Slide" preserve="1" userDrawn="1">
  <p:cSld name="Cover Slide">
    <p:spTree>
      <p:nvGrpSpPr>
        <p:cNvPr id="1" name="Shape 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" name="Shape 409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12191987" cy="6858000"/>
          </a:xfrm>
          <a:prstGeom prst="rect">
            <a:avLst/>
          </a:prstGeom>
          <a:noFill/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sp>
        <p:nvSpPr>
          <p:cNvPr id="411" name="Shape 411"/>
          <p:cNvSpPr/>
          <p:nvPr/>
        </p:nvSpPr>
        <p:spPr>
          <a:xfrm rot="10800000" flipH="1">
            <a:off x="7333" y="33"/>
            <a:ext cx="12183600" cy="167200"/>
          </a:xfrm>
          <a:prstGeom prst="rect">
            <a:avLst/>
          </a:prstGeom>
          <a:solidFill>
            <a:srgbClr val="0B539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>
              <a:solidFill>
                <a:srgbClr val="4D4D4D"/>
              </a:solidFill>
            </a:endParaRPr>
          </a:p>
        </p:txBody>
      </p:sp>
      <p:sp>
        <p:nvSpPr>
          <p:cNvPr id="412" name="Shape 412"/>
          <p:cNvSpPr/>
          <p:nvPr/>
        </p:nvSpPr>
        <p:spPr>
          <a:xfrm rot="10800000" flipH="1">
            <a:off x="0" y="33"/>
            <a:ext cx="9371200" cy="1672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>
              <a:solidFill>
                <a:srgbClr val="4D4D4D"/>
              </a:solidFill>
            </a:endParaRPr>
          </a:p>
        </p:txBody>
      </p:sp>
      <p:sp>
        <p:nvSpPr>
          <p:cNvPr id="415" name="Shape 415"/>
          <p:cNvSpPr/>
          <p:nvPr/>
        </p:nvSpPr>
        <p:spPr>
          <a:xfrm rot="10800000" flipH="1">
            <a:off x="8807867" y="33"/>
            <a:ext cx="570800" cy="167200"/>
          </a:xfrm>
          <a:prstGeom prst="rect">
            <a:avLst/>
          </a:prstGeom>
          <a:solidFill>
            <a:srgbClr val="6D9EE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>
              <a:solidFill>
                <a:srgbClr val="4D4D4D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 hasCustomPrompt="1"/>
          </p:nvPr>
        </p:nvSpPr>
        <p:spPr>
          <a:xfrm>
            <a:off x="643333" y="1630867"/>
            <a:ext cx="10048000" cy="975182"/>
          </a:xfrm>
        </p:spPr>
        <p:txBody>
          <a:bodyPr/>
          <a:lstStyle>
            <a:lvl1pPr algn="l" defTabSz="914400" rtl="0" eaLnBrk="1" latinLnBrk="0" hangingPunct="1">
              <a:spcBef>
                <a:spcPts val="0"/>
              </a:spcBef>
              <a:buClr>
                <a:schemeClr val="dk1"/>
              </a:buClr>
              <a:buNone/>
              <a:defRPr lang="en-US" sz="6400" b="1" kern="1200" dirty="0" smtClean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4" name="Content Placeholder 4"/>
          <p:cNvSpPr>
            <a:spLocks noGrp="1"/>
          </p:cNvSpPr>
          <p:nvPr>
            <p:ph sz="quarter" idx="11"/>
          </p:nvPr>
        </p:nvSpPr>
        <p:spPr>
          <a:xfrm>
            <a:off x="643333" y="4783367"/>
            <a:ext cx="4010000" cy="3356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Tx/>
              <a:buNone/>
              <a:defRPr lang="en-US" sz="2000" b="1" i="0" kern="1200" dirty="0">
                <a:solidFill>
                  <a:srgbClr val="6FA8DC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</a:t>
            </a:r>
            <a:endParaRPr lang="en-US" dirty="0"/>
          </a:p>
        </p:txBody>
      </p:sp>
      <p:sp>
        <p:nvSpPr>
          <p:cNvPr id="15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643333" y="2776227"/>
            <a:ext cx="10048000" cy="975182"/>
          </a:xfrm>
        </p:spPr>
        <p:txBody>
          <a:bodyPr/>
          <a:lstStyle>
            <a:lvl1pPr algn="l" defTabSz="914400" rtl="0" eaLnBrk="1" latinLnBrk="0" hangingPunct="1">
              <a:spcBef>
                <a:spcPts val="0"/>
              </a:spcBef>
              <a:buClr>
                <a:schemeClr val="dk1"/>
              </a:buClr>
              <a:buNone/>
              <a:defRPr lang="en-US" sz="3200" b="1" kern="1200" dirty="0" smtClean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Click to edit sub-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4972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17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23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7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75" y="1508760"/>
            <a:ext cx="11029033" cy="4617720"/>
          </a:xfrm>
        </p:spPr>
        <p:txBody>
          <a:bodyPr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311754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17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5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7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75" y="1508760"/>
            <a:ext cx="11029033" cy="4617720"/>
          </a:xfrm>
        </p:spPr>
        <p:txBody>
          <a:bodyPr lIns="0" tIns="0" rIns="0" bIns="0"/>
          <a:lstStyle>
            <a:lvl1pPr marL="171450" indent="-171450">
              <a:spcBef>
                <a:spcPts val="384"/>
              </a:spcBef>
              <a:buClr>
                <a:srgbClr val="273D47"/>
              </a:buClr>
              <a:buFont typeface="Arial" pitchFamily="34" charset="0"/>
              <a:buChar char="•"/>
              <a:defRPr b="0"/>
            </a:lvl1pPr>
            <a:lvl2pPr marL="622800" indent="-216000">
              <a:buClr>
                <a:srgbClr val="273D47"/>
              </a:buClr>
              <a:buFont typeface="Arial" pitchFamily="34" charset="0"/>
              <a:buChar char="–"/>
              <a:defRPr/>
            </a:lvl2pPr>
            <a:lvl3pPr marL="1080000" indent="-230400">
              <a:spcBef>
                <a:spcPts val="384"/>
              </a:spcBef>
              <a:buClr>
                <a:srgbClr val="273D47"/>
              </a:buClr>
              <a:defRPr/>
            </a:lvl3pPr>
            <a:lvl4pPr marL="1544400" indent="-230400">
              <a:spcBef>
                <a:spcPts val="384"/>
              </a:spcBef>
              <a:buClr>
                <a:srgbClr val="273D47"/>
              </a:buClr>
              <a:defRPr/>
            </a:lvl4pPr>
            <a:lvl5pPr marL="2059200" indent="-230400">
              <a:spcBef>
                <a:spcPts val="384"/>
              </a:spcBef>
              <a:buClr>
                <a:srgbClr val="273D47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541081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015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5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142358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963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Slide">
  <p:cSld name="1_Cover Slide">
    <p:spTree>
      <p:nvGrpSpPr>
        <p:cNvPr id="1" name="Shape 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" name="Shape 409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12191987" cy="6858000"/>
          </a:xfrm>
          <a:prstGeom prst="rect">
            <a:avLst/>
          </a:prstGeom>
          <a:noFill/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  <a:reflection endPos="30000" dist="38100" dir="5400000" fadeDir="5400012" sy="-100000" algn="bl" rotWithShape="0"/>
          </a:effectLst>
        </p:spPr>
      </p:pic>
      <p:sp>
        <p:nvSpPr>
          <p:cNvPr id="411" name="Shape 411"/>
          <p:cNvSpPr/>
          <p:nvPr/>
        </p:nvSpPr>
        <p:spPr>
          <a:xfrm rot="10800000" flipH="1">
            <a:off x="7333" y="33"/>
            <a:ext cx="12183600" cy="167200"/>
          </a:xfrm>
          <a:prstGeom prst="rect">
            <a:avLst/>
          </a:prstGeom>
          <a:solidFill>
            <a:srgbClr val="0B539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solidFill>
                <a:srgbClr val="4D4D4D"/>
              </a:solidFill>
            </a:endParaRPr>
          </a:p>
        </p:txBody>
      </p:sp>
      <p:sp>
        <p:nvSpPr>
          <p:cNvPr id="412" name="Shape 412"/>
          <p:cNvSpPr/>
          <p:nvPr/>
        </p:nvSpPr>
        <p:spPr>
          <a:xfrm rot="10800000" flipH="1">
            <a:off x="7333" y="33"/>
            <a:ext cx="9371200" cy="1672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solidFill>
                <a:srgbClr val="4D4D4D"/>
              </a:solidFill>
            </a:endParaRPr>
          </a:p>
        </p:txBody>
      </p:sp>
      <p:sp>
        <p:nvSpPr>
          <p:cNvPr id="415" name="Shape 415"/>
          <p:cNvSpPr/>
          <p:nvPr/>
        </p:nvSpPr>
        <p:spPr>
          <a:xfrm rot="10800000" flipH="1">
            <a:off x="8807867" y="33"/>
            <a:ext cx="570800" cy="167200"/>
          </a:xfrm>
          <a:prstGeom prst="rect">
            <a:avLst/>
          </a:prstGeom>
          <a:solidFill>
            <a:srgbClr val="6D9EE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340108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4487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632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6812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0712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2647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3479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9207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2836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7598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2844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</a:t>
            </a:r>
            <a:r>
              <a:rPr lang="en-US" dirty="0" smtClean="0">
                <a:solidFill>
                  <a:schemeClr val="tx2"/>
                </a:solidFill>
              </a:rPr>
              <a:t>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856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4104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3250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5031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9030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1040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7691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100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7613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496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477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8879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4818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9005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194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78424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US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0504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1352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1502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2633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7026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6667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8243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7953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6627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0770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>
                <a:solidFill>
                  <a:schemeClr val="tx2"/>
                </a:solidFill>
              </a:rPr>
              <a:t>Click to 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23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7901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8798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>
                <a:solidFill>
                  <a:schemeClr val="tx2"/>
                </a:solidFill>
              </a:rPr>
              <a:t>Click to 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5192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064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829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2107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787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4781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879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3521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346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5237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2087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4909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2430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2000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1812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2848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7891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11214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US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7514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829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769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FFFFFF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5400" dirty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50945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2654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1267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4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 smtClean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42473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4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0762B5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0762B5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685332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4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7060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4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0762B5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0307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4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 smtClean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94943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5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824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  <a:sym typeface="Trebuchet MS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680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6706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070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046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0498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7840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5667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2015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3662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0528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</a:t>
            </a:r>
            <a:r>
              <a:rPr lang="en-US" dirty="0" smtClean="0">
                <a:solidFill>
                  <a:schemeClr val="tx2"/>
                </a:solidFill>
              </a:rPr>
              <a:t>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8033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980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5758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0370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3432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9247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2399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4080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784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8440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1272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5273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6040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069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1612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0596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  <a:sym typeface="Trebuchet MS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11554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sym typeface="Trebuchet M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  <a:sym typeface="Trebuchet M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sym typeface="Trebuchet M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sym typeface="Trebuchet MS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  <a:sym typeface="Trebuchet MS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US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0622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  <a:sym typeface="Trebuchet MS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7056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7151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0314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856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6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2782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779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3510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8551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0962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9073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0148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>
                <a:solidFill>
                  <a:schemeClr val="tx2"/>
                </a:solidFill>
              </a:rPr>
              <a:t>Click to 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320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198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3900" y="33829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5985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943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814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415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8184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438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5727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351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9352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991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3245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7667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497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7069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  <a:sym typeface="Trebuchet MS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41200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sym typeface="Trebuchet MS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  <a:sym typeface="Trebuchet M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sym typeface="Trebuchet MS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sym typeface="Trebuchet MS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  <a:sym typeface="Trebuchet MS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US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2072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6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Trebuchet M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sym typeface="Trebuchet M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FFFFFF"/>
              </a:solidFill>
              <a:sym typeface="Trebuchet M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5400" dirty="0">
                <a:solidFill>
                  <a:srgbClr val="FFFFFF"/>
                </a:solidFill>
                <a:sym typeface="Trebuchet M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599304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6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390496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6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8799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7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 smtClean="0">
                <a:solidFill>
                  <a:srgbClr val="FFFFFF"/>
                </a:solidFill>
                <a:sym typeface="Trebuchet M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80256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74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Trebuchet MS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sym typeface="Trebuchet M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0762B5"/>
              </a:solidFill>
              <a:sym typeface="Trebuchet M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0762B5"/>
                </a:solidFill>
                <a:sym typeface="Trebuchet M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669273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191077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7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0762B5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5269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81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 smtClean="0">
                <a:solidFill>
                  <a:srgbClr val="FFFFFF"/>
                </a:solidFill>
                <a:sym typeface="Trebuchet M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58106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8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3067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86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2237" y="6361030"/>
            <a:ext cx="604867" cy="153888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054735" y="6391807"/>
            <a:ext cx="1269579" cy="123111"/>
          </a:xfrm>
          <a:prstGeom prst="rect">
            <a:avLst/>
          </a:prstGeom>
        </p:spPr>
        <p:txBody>
          <a:bodyPr/>
          <a:lstStyle/>
          <a:p>
            <a:pPr hangingPunct="0"/>
            <a:endParaRPr lang="en-US" kern="0">
              <a:solidFill>
                <a:srgbClr val="000000"/>
              </a:solidFill>
              <a:sym typeface="Trebuchet M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6167" y="6391807"/>
            <a:ext cx="166712" cy="123111"/>
          </a:xfrm>
          <a:prstGeom prst="rect">
            <a:avLst/>
          </a:prstGeom>
        </p:spPr>
        <p:txBody>
          <a:bodyPr/>
          <a:lstStyle/>
          <a:p>
            <a:pPr hangingPunct="0"/>
            <a:fld id="{60497D7E-8C27-47D6-90F2-92DBB8FD8082}" type="slidenum">
              <a:rPr lang="en-US" kern="0" smtClean="0">
                <a:solidFill>
                  <a:srgbClr val="000000"/>
                </a:solidFill>
                <a:sym typeface="Trebuchet MS"/>
              </a:rPr>
              <a:pPr hangingPunct="0"/>
              <a:t>‹#›</a:t>
            </a:fld>
            <a:endParaRPr lang="en-US" kern="0">
              <a:solidFill>
                <a:srgbClr val="000000"/>
              </a:solidFill>
              <a:sym typeface="Trebuchet MS"/>
            </a:endParaRPr>
          </a:p>
        </p:txBody>
      </p:sp>
      <p:cxnSp>
        <p:nvCxnSpPr>
          <p:cNvPr id="7" name="frame line"/>
          <p:cNvCxnSpPr/>
          <p:nvPr userDrawn="1"/>
        </p:nvCxnSpPr>
        <p:spPr>
          <a:xfrm rot="5400000" flipH="1" flipV="1">
            <a:off x="5938657" y="-4910947"/>
            <a:ext cx="180000" cy="10992000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70984" y="1350964"/>
            <a:ext cx="10854267" cy="212725"/>
          </a:xfrm>
        </p:spPr>
        <p:txBody>
          <a:bodyPr/>
          <a:lstStyle>
            <a:lvl1pPr marL="0" indent="0" algn="l">
              <a:buFontTx/>
              <a:buNone/>
              <a:defRPr b="1"/>
            </a:lvl1pPr>
            <a:lvl2pPr marL="198000" indent="0">
              <a:buFontTx/>
              <a:buNone/>
              <a:defRPr/>
            </a:lvl2pPr>
            <a:lvl3pPr marL="378612" indent="0">
              <a:buFontTx/>
              <a:buNone/>
              <a:defRPr/>
            </a:lvl3pPr>
            <a:lvl4pPr marL="558612" indent="0">
              <a:buFontTx/>
              <a:buNone/>
              <a:defRPr/>
            </a:lvl4pPr>
            <a:lvl5pPr marL="558612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6274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7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392420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17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92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7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75" y="1508760"/>
            <a:ext cx="11029033" cy="4617720"/>
          </a:xfrm>
        </p:spPr>
        <p:txBody>
          <a:bodyPr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469454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17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95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7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75" y="1508760"/>
            <a:ext cx="11029033" cy="4617720"/>
          </a:xfrm>
        </p:spPr>
        <p:txBody>
          <a:bodyPr lIns="0" tIns="0" rIns="0" bIns="0"/>
          <a:lstStyle>
            <a:lvl1pPr marL="171450" indent="-17145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b="0"/>
            </a:lvl1pPr>
            <a:lvl2pPr marL="622800" indent="-216000">
              <a:buFont typeface="Arial" pitchFamily="34" charset="0"/>
              <a:buChar char="–"/>
              <a:defRPr/>
            </a:lvl2pPr>
            <a:lvl3pPr marL="10800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055581649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015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9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5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731364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068695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Slide">
  <p:cSld name="Cover Slide">
    <p:spTree>
      <p:nvGrpSpPr>
        <p:cNvPr id="1" name="Shape 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" name="Shape 409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12191987" cy="6858000"/>
          </a:xfrm>
          <a:prstGeom prst="rect">
            <a:avLst/>
          </a:prstGeom>
          <a:noFill/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  <a:reflection endPos="30000" dist="38100" dir="5400000" fadeDir="5400012" sy="-100000" algn="bl" rotWithShape="0"/>
          </a:effectLst>
        </p:spPr>
      </p:pic>
      <p:sp>
        <p:nvSpPr>
          <p:cNvPr id="411" name="Shape 411"/>
          <p:cNvSpPr/>
          <p:nvPr/>
        </p:nvSpPr>
        <p:spPr>
          <a:xfrm rot="10800000" flipH="1">
            <a:off x="7333" y="33"/>
            <a:ext cx="12183600" cy="167200"/>
          </a:xfrm>
          <a:prstGeom prst="rect">
            <a:avLst/>
          </a:prstGeom>
          <a:solidFill>
            <a:srgbClr val="0B539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solidFill>
                <a:srgbClr val="000000"/>
              </a:solidFill>
            </a:endParaRPr>
          </a:p>
        </p:txBody>
      </p:sp>
      <p:sp>
        <p:nvSpPr>
          <p:cNvPr id="412" name="Shape 412"/>
          <p:cNvSpPr/>
          <p:nvPr/>
        </p:nvSpPr>
        <p:spPr>
          <a:xfrm rot="10800000" flipH="1">
            <a:off x="7333" y="33"/>
            <a:ext cx="9371200" cy="1672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solidFill>
                <a:srgbClr val="000000"/>
              </a:solidFill>
            </a:endParaRPr>
          </a:p>
        </p:txBody>
      </p:sp>
      <p:sp>
        <p:nvSpPr>
          <p:cNvPr id="415" name="Shape 415"/>
          <p:cNvSpPr/>
          <p:nvPr/>
        </p:nvSpPr>
        <p:spPr>
          <a:xfrm rot="10800000" flipH="1">
            <a:off x="8807867" y="33"/>
            <a:ext cx="570800" cy="167200"/>
          </a:xfrm>
          <a:prstGeom prst="rect">
            <a:avLst/>
          </a:prstGeom>
          <a:solidFill>
            <a:srgbClr val="6D9EE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213967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  <a:sym typeface="Trebuchet MS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2655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7697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3193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0333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680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7723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4615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621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3753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8253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</a:t>
            </a:r>
            <a:r>
              <a:rPr lang="en-US" dirty="0" smtClean="0">
                <a:solidFill>
                  <a:schemeClr val="tx2"/>
                </a:solidFill>
              </a:rPr>
              <a:t>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1498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6876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1598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2026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0604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8673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4382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323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7830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chemeClr val="tx2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390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0316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2117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9246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147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3604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4478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  <a:sym typeface="Trebuchet MS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10440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sym typeface="Trebuchet M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  <a:sym typeface="Trebuchet M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sym typeface="Trebuchet M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sym typeface="Trebuchet MS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  <a:sym typeface="Trebuchet MS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US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4840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  <a:sym typeface="Trebuchet MS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7814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0242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9383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162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890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8179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3370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3115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7265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0420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957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>
                <a:solidFill>
                  <a:schemeClr val="tx2"/>
                </a:solidFill>
              </a:rPr>
              <a:t>Click to 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8926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6018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3900" y="33829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699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6231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8217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36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0770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070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0399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4484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4673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22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2035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4581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9499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6270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  <a:sym typeface="Trebuchet MS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7559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sym typeface="Trebuchet MS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  <a:sym typeface="Trebuchet M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sym typeface="Trebuchet MS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sym typeface="Trebuchet MS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  <a:sym typeface="Trebuchet MS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US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1731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0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Trebuchet M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sym typeface="Trebuchet M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FFFFFF"/>
              </a:solidFill>
              <a:sym typeface="Trebuchet M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5400" dirty="0">
                <a:solidFill>
                  <a:srgbClr val="FFFFFF"/>
                </a:solidFill>
                <a:sym typeface="Trebuchet M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162177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069437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0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3641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1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 smtClean="0">
                <a:solidFill>
                  <a:srgbClr val="FFFFFF"/>
                </a:solidFill>
                <a:sym typeface="Trebuchet M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124356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Trebuchet MS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sym typeface="Trebuchet M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0762B5"/>
              </a:solidFill>
              <a:sym typeface="Trebuchet M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0762B5"/>
                </a:solidFill>
                <a:sym typeface="Trebuchet M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907240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1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901437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1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0762B5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0506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2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 smtClean="0">
                <a:solidFill>
                  <a:srgbClr val="FFFFFF"/>
                </a:solidFill>
                <a:sym typeface="Trebuchet M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609999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9443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6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2237" y="6361030"/>
            <a:ext cx="604867" cy="153888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054735" y="6391807"/>
            <a:ext cx="1269579" cy="123111"/>
          </a:xfrm>
          <a:prstGeom prst="rect">
            <a:avLst/>
          </a:prstGeom>
        </p:spPr>
        <p:txBody>
          <a:bodyPr/>
          <a:lstStyle/>
          <a:p>
            <a:pPr hangingPunct="0"/>
            <a:endParaRPr lang="en-US" kern="0">
              <a:solidFill>
                <a:srgbClr val="000000"/>
              </a:solidFill>
              <a:sym typeface="Trebuchet M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6167" y="6391807"/>
            <a:ext cx="166712" cy="123111"/>
          </a:xfrm>
          <a:prstGeom prst="rect">
            <a:avLst/>
          </a:prstGeom>
        </p:spPr>
        <p:txBody>
          <a:bodyPr/>
          <a:lstStyle/>
          <a:p>
            <a:pPr hangingPunct="0"/>
            <a:fld id="{60497D7E-8C27-47D6-90F2-92DBB8FD8082}" type="slidenum">
              <a:rPr lang="en-US" kern="0" smtClean="0">
                <a:solidFill>
                  <a:srgbClr val="000000"/>
                </a:solidFill>
                <a:sym typeface="Trebuchet MS"/>
              </a:rPr>
              <a:pPr hangingPunct="0"/>
              <a:t>‹#›</a:t>
            </a:fld>
            <a:endParaRPr lang="en-US" kern="0">
              <a:solidFill>
                <a:srgbClr val="000000"/>
              </a:solidFill>
              <a:sym typeface="Trebuchet MS"/>
            </a:endParaRPr>
          </a:p>
        </p:txBody>
      </p:sp>
      <p:cxnSp>
        <p:nvCxnSpPr>
          <p:cNvPr id="7" name="frame line"/>
          <p:cNvCxnSpPr/>
          <p:nvPr userDrawn="1"/>
        </p:nvCxnSpPr>
        <p:spPr>
          <a:xfrm rot="5400000" flipH="1" flipV="1">
            <a:off x="5938657" y="-4910947"/>
            <a:ext cx="180000" cy="10992000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70984" y="1350964"/>
            <a:ext cx="10854267" cy="212725"/>
          </a:xfrm>
        </p:spPr>
        <p:txBody>
          <a:bodyPr/>
          <a:lstStyle>
            <a:lvl1pPr marL="0" indent="0" algn="l">
              <a:buFontTx/>
              <a:buNone/>
              <a:defRPr b="1"/>
            </a:lvl1pPr>
            <a:lvl2pPr marL="198000" indent="0">
              <a:buFontTx/>
              <a:buNone/>
              <a:defRPr/>
            </a:lvl2pPr>
            <a:lvl3pPr marL="378612" indent="0">
              <a:buFontTx/>
              <a:buNone/>
              <a:defRPr/>
            </a:lvl3pPr>
            <a:lvl4pPr marL="558612" indent="0">
              <a:buFontTx/>
              <a:buNone/>
              <a:defRPr/>
            </a:lvl4pPr>
            <a:lvl5pPr marL="558612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4012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7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3250198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625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6724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PH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kumimoji="0" lang="en-PH" sz="10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PH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kumimoji="0" lang="en-PH" sz="10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PH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</a:t>
              </a:r>
              <a:r>
                <a:rPr kumimoji="0" lang="en-PH" sz="10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endParaRPr kumimoji="0" lang="en-PH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Trebuchet MS" panose="020B0603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PH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PH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1905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379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4266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649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8488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2131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1160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6566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</a:t>
            </a:r>
            <a:r>
              <a:rPr lang="en-US" dirty="0" smtClean="0">
                <a:solidFill>
                  <a:schemeClr val="tx2"/>
                </a:solidFill>
              </a:rPr>
              <a:t>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0080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2426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7031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2443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24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0747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5551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1280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976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8624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4952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3299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3389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4920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92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5842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451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6062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09459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US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2061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229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0097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7665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0247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0319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607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8457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2335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6562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7804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7470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2843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>
                <a:solidFill>
                  <a:schemeClr val="tx2"/>
                </a:solidFill>
              </a:rPr>
              <a:t>Click to 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818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640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829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0931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978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 smtClean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70190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0109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2767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0948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388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1195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7049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3796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5369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1559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3662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1038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5628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0579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US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5512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FFFFFF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5400" dirty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938916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215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5078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3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 smtClean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010508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4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0762B5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0762B5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590818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3397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00617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0762B5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3589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 smtClean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41632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5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1864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17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57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7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75" y="1508760"/>
            <a:ext cx="11029033" cy="4617720"/>
          </a:xfrm>
        </p:spPr>
        <p:txBody>
          <a:bodyPr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410251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17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59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7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75" y="1508760"/>
            <a:ext cx="11029033" cy="4617720"/>
          </a:xfrm>
        </p:spPr>
        <p:txBody>
          <a:bodyPr lIns="0" tIns="0" rIns="0" bIns="0"/>
          <a:lstStyle>
            <a:lvl1pPr marL="171450" indent="-17145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b="0"/>
            </a:lvl1pPr>
            <a:lvl2pPr marL="622800" indent="-216000">
              <a:buFont typeface="Arial" pitchFamily="34" charset="0"/>
              <a:buChar char="–"/>
              <a:defRPr/>
            </a:lvl2pPr>
            <a:lvl3pPr marL="10800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8456562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015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6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5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085593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8610278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Slide">
  <p:cSld name="Cover Slide">
    <p:spTree>
      <p:nvGrpSpPr>
        <p:cNvPr id="1" name="Shape 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" name="Shape 409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12191987" cy="6858000"/>
          </a:xfrm>
          <a:prstGeom prst="rect">
            <a:avLst/>
          </a:prstGeom>
          <a:noFill/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  <a:reflection endPos="30000" dist="38100" dir="5400000" fadeDir="5400012" sy="-100000" algn="bl" rotWithShape="0"/>
          </a:effectLst>
        </p:spPr>
      </p:pic>
      <p:sp>
        <p:nvSpPr>
          <p:cNvPr id="411" name="Shape 411"/>
          <p:cNvSpPr/>
          <p:nvPr/>
        </p:nvSpPr>
        <p:spPr>
          <a:xfrm rot="10800000" flipH="1">
            <a:off x="7333" y="33"/>
            <a:ext cx="12183600" cy="167200"/>
          </a:xfrm>
          <a:prstGeom prst="rect">
            <a:avLst/>
          </a:prstGeom>
          <a:solidFill>
            <a:srgbClr val="0B539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solidFill>
                <a:srgbClr val="000000"/>
              </a:solidFill>
            </a:endParaRPr>
          </a:p>
        </p:txBody>
      </p:sp>
      <p:sp>
        <p:nvSpPr>
          <p:cNvPr id="412" name="Shape 412"/>
          <p:cNvSpPr/>
          <p:nvPr/>
        </p:nvSpPr>
        <p:spPr>
          <a:xfrm rot="10800000" flipH="1">
            <a:off x="7333" y="33"/>
            <a:ext cx="9371200" cy="1672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solidFill>
                <a:srgbClr val="000000"/>
              </a:solidFill>
            </a:endParaRPr>
          </a:p>
        </p:txBody>
      </p:sp>
      <p:sp>
        <p:nvSpPr>
          <p:cNvPr id="415" name="Shape 415"/>
          <p:cNvSpPr/>
          <p:nvPr/>
        </p:nvSpPr>
        <p:spPr>
          <a:xfrm rot="10800000" flipH="1">
            <a:off x="8807867" y="33"/>
            <a:ext cx="570800" cy="167200"/>
          </a:xfrm>
          <a:prstGeom prst="rect">
            <a:avLst/>
          </a:prstGeom>
          <a:solidFill>
            <a:srgbClr val="6D9EE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8753399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Slide" preserve="1" userDrawn="1">
  <p:cSld name="Cover Slide">
    <p:spTree>
      <p:nvGrpSpPr>
        <p:cNvPr id="1" name="Shape 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" name="Shape 409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12191987" cy="6858000"/>
          </a:xfrm>
          <a:prstGeom prst="rect">
            <a:avLst/>
          </a:prstGeom>
          <a:noFill/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sp>
        <p:nvSpPr>
          <p:cNvPr id="411" name="Shape 411"/>
          <p:cNvSpPr/>
          <p:nvPr/>
        </p:nvSpPr>
        <p:spPr>
          <a:xfrm rot="10800000" flipH="1">
            <a:off x="7333" y="33"/>
            <a:ext cx="12183600" cy="167200"/>
          </a:xfrm>
          <a:prstGeom prst="rect">
            <a:avLst/>
          </a:prstGeom>
          <a:solidFill>
            <a:srgbClr val="0B539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>
              <a:solidFill>
                <a:srgbClr val="4D4D4D"/>
              </a:solidFill>
            </a:endParaRPr>
          </a:p>
        </p:txBody>
      </p:sp>
      <p:sp>
        <p:nvSpPr>
          <p:cNvPr id="412" name="Shape 412"/>
          <p:cNvSpPr/>
          <p:nvPr/>
        </p:nvSpPr>
        <p:spPr>
          <a:xfrm rot="10800000" flipH="1">
            <a:off x="0" y="33"/>
            <a:ext cx="9371200" cy="1672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>
              <a:solidFill>
                <a:srgbClr val="4D4D4D"/>
              </a:solidFill>
            </a:endParaRPr>
          </a:p>
        </p:txBody>
      </p:sp>
      <p:sp>
        <p:nvSpPr>
          <p:cNvPr id="415" name="Shape 415"/>
          <p:cNvSpPr/>
          <p:nvPr/>
        </p:nvSpPr>
        <p:spPr>
          <a:xfrm rot="10800000" flipH="1">
            <a:off x="8807867" y="33"/>
            <a:ext cx="570800" cy="167200"/>
          </a:xfrm>
          <a:prstGeom prst="rect">
            <a:avLst/>
          </a:prstGeom>
          <a:solidFill>
            <a:srgbClr val="6D9EE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>
              <a:solidFill>
                <a:srgbClr val="4D4D4D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 hasCustomPrompt="1"/>
          </p:nvPr>
        </p:nvSpPr>
        <p:spPr>
          <a:xfrm>
            <a:off x="643333" y="1630867"/>
            <a:ext cx="10048000" cy="975182"/>
          </a:xfrm>
        </p:spPr>
        <p:txBody>
          <a:bodyPr/>
          <a:lstStyle>
            <a:lvl1pPr algn="l" defTabSz="914400" rtl="0" eaLnBrk="1" latinLnBrk="0" hangingPunct="1">
              <a:spcBef>
                <a:spcPts val="0"/>
              </a:spcBef>
              <a:buClr>
                <a:schemeClr val="dk1"/>
              </a:buClr>
              <a:buNone/>
              <a:defRPr lang="en-US" sz="6400" b="1" kern="1200" dirty="0" smtClean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4" name="Content Placeholder 4"/>
          <p:cNvSpPr>
            <a:spLocks noGrp="1"/>
          </p:cNvSpPr>
          <p:nvPr>
            <p:ph sz="quarter" idx="11"/>
          </p:nvPr>
        </p:nvSpPr>
        <p:spPr>
          <a:xfrm>
            <a:off x="643333" y="4783367"/>
            <a:ext cx="4010000" cy="3356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Tx/>
              <a:buNone/>
              <a:defRPr lang="en-US" sz="2000" b="1" i="0" kern="1200" dirty="0">
                <a:solidFill>
                  <a:srgbClr val="6FA8DC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</a:t>
            </a:r>
            <a:endParaRPr lang="en-US" dirty="0"/>
          </a:p>
        </p:txBody>
      </p:sp>
      <p:sp>
        <p:nvSpPr>
          <p:cNvPr id="15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643333" y="2776227"/>
            <a:ext cx="10048000" cy="975182"/>
          </a:xfrm>
        </p:spPr>
        <p:txBody>
          <a:bodyPr/>
          <a:lstStyle>
            <a:lvl1pPr algn="l" defTabSz="914400" rtl="0" eaLnBrk="1" latinLnBrk="0" hangingPunct="1">
              <a:spcBef>
                <a:spcPts val="0"/>
              </a:spcBef>
              <a:buClr>
                <a:schemeClr val="dk1"/>
              </a:buClr>
              <a:buNone/>
              <a:defRPr lang="en-US" sz="3200" b="1" kern="1200" dirty="0" smtClean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Click to edit sub-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8818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17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7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75" y="1508760"/>
            <a:ext cx="11029033" cy="4617720"/>
          </a:xfrm>
        </p:spPr>
        <p:txBody>
          <a:bodyPr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949521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17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72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7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75" y="1508760"/>
            <a:ext cx="11029033" cy="4617720"/>
          </a:xfrm>
        </p:spPr>
        <p:txBody>
          <a:bodyPr lIns="0" tIns="0" rIns="0" bIns="0"/>
          <a:lstStyle>
            <a:lvl1pPr marL="171450" indent="-171450">
              <a:spcBef>
                <a:spcPts val="384"/>
              </a:spcBef>
              <a:buClr>
                <a:srgbClr val="273D47"/>
              </a:buClr>
              <a:buFont typeface="Arial" pitchFamily="34" charset="0"/>
              <a:buChar char="•"/>
              <a:defRPr b="0"/>
            </a:lvl1pPr>
            <a:lvl2pPr marL="622800" indent="-216000">
              <a:buClr>
                <a:srgbClr val="273D47"/>
              </a:buClr>
              <a:buFont typeface="Arial" pitchFamily="34" charset="0"/>
              <a:buChar char="–"/>
              <a:defRPr/>
            </a:lvl2pPr>
            <a:lvl3pPr marL="1080000" indent="-230400">
              <a:spcBef>
                <a:spcPts val="384"/>
              </a:spcBef>
              <a:buClr>
                <a:srgbClr val="273D47"/>
              </a:buClr>
              <a:defRPr/>
            </a:lvl3pPr>
            <a:lvl4pPr marL="1544400" indent="-230400">
              <a:spcBef>
                <a:spcPts val="384"/>
              </a:spcBef>
              <a:buClr>
                <a:srgbClr val="273D47"/>
              </a:buClr>
              <a:defRPr/>
            </a:lvl4pPr>
            <a:lvl5pPr marL="2059200" indent="-230400">
              <a:spcBef>
                <a:spcPts val="384"/>
              </a:spcBef>
              <a:buClr>
                <a:srgbClr val="273D47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012413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015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7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5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297651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4176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Slide">
  <p:cSld name="1_Cover Slide">
    <p:spTree>
      <p:nvGrpSpPr>
        <p:cNvPr id="1" name="Shape 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" name="Shape 409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12191987" cy="6858000"/>
          </a:xfrm>
          <a:prstGeom prst="rect">
            <a:avLst/>
          </a:prstGeom>
          <a:noFill/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  <a:reflection endPos="30000" dist="38100" dir="5400000" fadeDir="5400012" sy="-100000" algn="bl" rotWithShape="0"/>
          </a:effectLst>
        </p:spPr>
      </p:pic>
      <p:sp>
        <p:nvSpPr>
          <p:cNvPr id="411" name="Shape 411"/>
          <p:cNvSpPr/>
          <p:nvPr/>
        </p:nvSpPr>
        <p:spPr>
          <a:xfrm rot="10800000" flipH="1">
            <a:off x="7333" y="33"/>
            <a:ext cx="12183600" cy="167200"/>
          </a:xfrm>
          <a:prstGeom prst="rect">
            <a:avLst/>
          </a:prstGeom>
          <a:solidFill>
            <a:srgbClr val="0B539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solidFill>
                <a:srgbClr val="4D4D4D"/>
              </a:solidFill>
            </a:endParaRPr>
          </a:p>
        </p:txBody>
      </p:sp>
      <p:sp>
        <p:nvSpPr>
          <p:cNvPr id="412" name="Shape 412"/>
          <p:cNvSpPr/>
          <p:nvPr/>
        </p:nvSpPr>
        <p:spPr>
          <a:xfrm rot="10800000" flipH="1">
            <a:off x="7333" y="33"/>
            <a:ext cx="9371200" cy="1672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solidFill>
                <a:srgbClr val="4D4D4D"/>
              </a:solidFill>
            </a:endParaRPr>
          </a:p>
        </p:txBody>
      </p:sp>
      <p:sp>
        <p:nvSpPr>
          <p:cNvPr id="415" name="Shape 415"/>
          <p:cNvSpPr/>
          <p:nvPr/>
        </p:nvSpPr>
        <p:spPr>
          <a:xfrm rot="10800000" flipH="1">
            <a:off x="8807867" y="33"/>
            <a:ext cx="570800" cy="167200"/>
          </a:xfrm>
          <a:prstGeom prst="rect">
            <a:avLst/>
          </a:prstGeom>
          <a:solidFill>
            <a:srgbClr val="6D9EE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26509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 smtClean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84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chemeClr val="tx2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365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50865"/>
          </a:xfrm>
        </p:spPr>
        <p:txBody>
          <a:bodyPr/>
          <a:lstStyle>
            <a:lvl1pPr algn="l" defTabSz="914219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00B62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342832" indent="-223794">
              <a:buClr>
                <a:srgbClr val="00BA20"/>
              </a:buClr>
              <a:defRPr sz="2000"/>
            </a:lvl1pPr>
            <a:lvl2pPr marL="795180" indent="-230142">
              <a:buClr>
                <a:srgbClr val="00BA20"/>
              </a:buClr>
              <a:defRPr sz="1700"/>
            </a:lvl2pPr>
            <a:lvl3pPr marL="1142775" indent="-228555">
              <a:buClr>
                <a:srgbClr val="00BA20"/>
              </a:buClr>
              <a:defRPr sz="1500"/>
            </a:lvl3pPr>
            <a:lvl4pPr marL="1599884" indent="-222206">
              <a:buClr>
                <a:srgbClr val="00BA20"/>
              </a:buClr>
              <a:defRPr sz="1200"/>
            </a:lvl4pPr>
            <a:lvl5pPr marL="2056993" indent="-228555">
              <a:buClr>
                <a:srgbClr val="00BA20"/>
              </a:buClr>
              <a:defRPr sz="9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16413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17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9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7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75" y="1508760"/>
            <a:ext cx="11029033" cy="4617720"/>
          </a:xfrm>
        </p:spPr>
        <p:txBody>
          <a:bodyPr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019661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17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51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7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75" y="1508760"/>
            <a:ext cx="11029033" cy="4617720"/>
          </a:xfrm>
        </p:spPr>
        <p:txBody>
          <a:bodyPr lIns="0" tIns="0" rIns="0" bIns="0"/>
          <a:lstStyle>
            <a:lvl1pPr marL="171450" indent="-17145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b="0"/>
            </a:lvl1pPr>
            <a:lvl2pPr marL="622800" indent="-216000">
              <a:buFont typeface="Arial" pitchFamily="34" charset="0"/>
              <a:buChar char="–"/>
              <a:defRPr/>
            </a:lvl2pPr>
            <a:lvl3pPr marL="10800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99394572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919927"/>
              </p:ext>
            </p:extLst>
          </p:nvPr>
        </p:nvGraphicFramePr>
        <p:xfrm>
          <a:off x="2015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5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5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0417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226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019023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50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8625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5881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2512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4639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1657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575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518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531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5665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</a:t>
            </a:r>
            <a:r>
              <a:rPr lang="en-US" dirty="0" smtClean="0">
                <a:solidFill>
                  <a:schemeClr val="tx2"/>
                </a:solidFill>
              </a:rPr>
              <a:t>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0800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1816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5380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7517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7072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9824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4691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1155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6409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5324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4232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9323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4595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6891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7021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1556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575757"/>
                </a:solidFill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PH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7442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9716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7890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71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31.xml"/><Relationship Id="rId18" Type="http://schemas.openxmlformats.org/officeDocument/2006/relationships/slideLayout" Target="../slideLayouts/slideLayout436.xml"/><Relationship Id="rId26" Type="http://schemas.openxmlformats.org/officeDocument/2006/relationships/slideLayout" Target="../slideLayouts/slideLayout444.xml"/><Relationship Id="rId39" Type="http://schemas.openxmlformats.org/officeDocument/2006/relationships/slideLayout" Target="../slideLayouts/slideLayout457.xml"/><Relationship Id="rId21" Type="http://schemas.openxmlformats.org/officeDocument/2006/relationships/slideLayout" Target="../slideLayouts/slideLayout439.xml"/><Relationship Id="rId34" Type="http://schemas.openxmlformats.org/officeDocument/2006/relationships/slideLayout" Target="../slideLayouts/slideLayout452.xml"/><Relationship Id="rId42" Type="http://schemas.openxmlformats.org/officeDocument/2006/relationships/slideLayout" Target="../slideLayouts/slideLayout460.xml"/><Relationship Id="rId47" Type="http://schemas.openxmlformats.org/officeDocument/2006/relationships/slideLayout" Target="../slideLayouts/slideLayout465.xml"/><Relationship Id="rId50" Type="http://schemas.openxmlformats.org/officeDocument/2006/relationships/slideLayout" Target="../slideLayouts/slideLayout468.xml"/><Relationship Id="rId55" Type="http://schemas.openxmlformats.org/officeDocument/2006/relationships/slideLayout" Target="../slideLayouts/slideLayout473.xml"/><Relationship Id="rId63" Type="http://schemas.openxmlformats.org/officeDocument/2006/relationships/slideLayout" Target="../slideLayouts/slideLayout481.xml"/><Relationship Id="rId68" Type="http://schemas.openxmlformats.org/officeDocument/2006/relationships/theme" Target="../theme/theme10.xml"/><Relationship Id="rId7" Type="http://schemas.openxmlformats.org/officeDocument/2006/relationships/slideLayout" Target="../slideLayouts/slideLayout425.xml"/><Relationship Id="rId71" Type="http://schemas.openxmlformats.org/officeDocument/2006/relationships/oleObject" Target="../embeddings/oleObject73.bin"/><Relationship Id="rId2" Type="http://schemas.openxmlformats.org/officeDocument/2006/relationships/slideLayout" Target="../slideLayouts/slideLayout420.xml"/><Relationship Id="rId16" Type="http://schemas.openxmlformats.org/officeDocument/2006/relationships/slideLayout" Target="../slideLayouts/slideLayout434.xml"/><Relationship Id="rId29" Type="http://schemas.openxmlformats.org/officeDocument/2006/relationships/slideLayout" Target="../slideLayouts/slideLayout447.xml"/><Relationship Id="rId1" Type="http://schemas.openxmlformats.org/officeDocument/2006/relationships/slideLayout" Target="../slideLayouts/slideLayout419.xml"/><Relationship Id="rId6" Type="http://schemas.openxmlformats.org/officeDocument/2006/relationships/slideLayout" Target="../slideLayouts/slideLayout424.xml"/><Relationship Id="rId11" Type="http://schemas.openxmlformats.org/officeDocument/2006/relationships/slideLayout" Target="../slideLayouts/slideLayout429.xml"/><Relationship Id="rId24" Type="http://schemas.openxmlformats.org/officeDocument/2006/relationships/slideLayout" Target="../slideLayouts/slideLayout442.xml"/><Relationship Id="rId32" Type="http://schemas.openxmlformats.org/officeDocument/2006/relationships/slideLayout" Target="../slideLayouts/slideLayout450.xml"/><Relationship Id="rId37" Type="http://schemas.openxmlformats.org/officeDocument/2006/relationships/slideLayout" Target="../slideLayouts/slideLayout455.xml"/><Relationship Id="rId40" Type="http://schemas.openxmlformats.org/officeDocument/2006/relationships/slideLayout" Target="../slideLayouts/slideLayout458.xml"/><Relationship Id="rId45" Type="http://schemas.openxmlformats.org/officeDocument/2006/relationships/slideLayout" Target="../slideLayouts/slideLayout463.xml"/><Relationship Id="rId53" Type="http://schemas.openxmlformats.org/officeDocument/2006/relationships/slideLayout" Target="../slideLayouts/slideLayout471.xml"/><Relationship Id="rId58" Type="http://schemas.openxmlformats.org/officeDocument/2006/relationships/slideLayout" Target="../slideLayouts/slideLayout476.xml"/><Relationship Id="rId66" Type="http://schemas.openxmlformats.org/officeDocument/2006/relationships/slideLayout" Target="../slideLayouts/slideLayout484.xml"/><Relationship Id="rId5" Type="http://schemas.openxmlformats.org/officeDocument/2006/relationships/slideLayout" Target="../slideLayouts/slideLayout423.xml"/><Relationship Id="rId15" Type="http://schemas.openxmlformats.org/officeDocument/2006/relationships/slideLayout" Target="../slideLayouts/slideLayout433.xml"/><Relationship Id="rId23" Type="http://schemas.openxmlformats.org/officeDocument/2006/relationships/slideLayout" Target="../slideLayouts/slideLayout441.xml"/><Relationship Id="rId28" Type="http://schemas.openxmlformats.org/officeDocument/2006/relationships/slideLayout" Target="../slideLayouts/slideLayout446.xml"/><Relationship Id="rId36" Type="http://schemas.openxmlformats.org/officeDocument/2006/relationships/slideLayout" Target="../slideLayouts/slideLayout454.xml"/><Relationship Id="rId49" Type="http://schemas.openxmlformats.org/officeDocument/2006/relationships/slideLayout" Target="../slideLayouts/slideLayout467.xml"/><Relationship Id="rId57" Type="http://schemas.openxmlformats.org/officeDocument/2006/relationships/slideLayout" Target="../slideLayouts/slideLayout475.xml"/><Relationship Id="rId61" Type="http://schemas.openxmlformats.org/officeDocument/2006/relationships/slideLayout" Target="../slideLayouts/slideLayout479.xml"/><Relationship Id="rId10" Type="http://schemas.openxmlformats.org/officeDocument/2006/relationships/slideLayout" Target="../slideLayouts/slideLayout428.xml"/><Relationship Id="rId19" Type="http://schemas.openxmlformats.org/officeDocument/2006/relationships/slideLayout" Target="../slideLayouts/slideLayout437.xml"/><Relationship Id="rId31" Type="http://schemas.openxmlformats.org/officeDocument/2006/relationships/slideLayout" Target="../slideLayouts/slideLayout449.xml"/><Relationship Id="rId44" Type="http://schemas.openxmlformats.org/officeDocument/2006/relationships/slideLayout" Target="../slideLayouts/slideLayout462.xml"/><Relationship Id="rId52" Type="http://schemas.openxmlformats.org/officeDocument/2006/relationships/slideLayout" Target="../slideLayouts/slideLayout470.xml"/><Relationship Id="rId60" Type="http://schemas.openxmlformats.org/officeDocument/2006/relationships/slideLayout" Target="../slideLayouts/slideLayout478.xml"/><Relationship Id="rId65" Type="http://schemas.openxmlformats.org/officeDocument/2006/relationships/slideLayout" Target="../slideLayouts/slideLayout483.xml"/><Relationship Id="rId4" Type="http://schemas.openxmlformats.org/officeDocument/2006/relationships/slideLayout" Target="../slideLayouts/slideLayout422.xml"/><Relationship Id="rId9" Type="http://schemas.openxmlformats.org/officeDocument/2006/relationships/slideLayout" Target="../slideLayouts/slideLayout427.xml"/><Relationship Id="rId14" Type="http://schemas.openxmlformats.org/officeDocument/2006/relationships/slideLayout" Target="../slideLayouts/slideLayout432.xml"/><Relationship Id="rId22" Type="http://schemas.openxmlformats.org/officeDocument/2006/relationships/slideLayout" Target="../slideLayouts/slideLayout440.xml"/><Relationship Id="rId27" Type="http://schemas.openxmlformats.org/officeDocument/2006/relationships/slideLayout" Target="../slideLayouts/slideLayout445.xml"/><Relationship Id="rId30" Type="http://schemas.openxmlformats.org/officeDocument/2006/relationships/slideLayout" Target="../slideLayouts/slideLayout448.xml"/><Relationship Id="rId35" Type="http://schemas.openxmlformats.org/officeDocument/2006/relationships/slideLayout" Target="../slideLayouts/slideLayout453.xml"/><Relationship Id="rId43" Type="http://schemas.openxmlformats.org/officeDocument/2006/relationships/slideLayout" Target="../slideLayouts/slideLayout461.xml"/><Relationship Id="rId48" Type="http://schemas.openxmlformats.org/officeDocument/2006/relationships/slideLayout" Target="../slideLayouts/slideLayout466.xml"/><Relationship Id="rId56" Type="http://schemas.openxmlformats.org/officeDocument/2006/relationships/slideLayout" Target="../slideLayouts/slideLayout474.xml"/><Relationship Id="rId64" Type="http://schemas.openxmlformats.org/officeDocument/2006/relationships/slideLayout" Target="../slideLayouts/slideLayout482.xml"/><Relationship Id="rId69" Type="http://schemas.openxmlformats.org/officeDocument/2006/relationships/vmlDrawing" Target="../drawings/vmlDrawing73.vml"/><Relationship Id="rId8" Type="http://schemas.openxmlformats.org/officeDocument/2006/relationships/slideLayout" Target="../slideLayouts/slideLayout426.xml"/><Relationship Id="rId51" Type="http://schemas.openxmlformats.org/officeDocument/2006/relationships/slideLayout" Target="../slideLayouts/slideLayout469.xml"/><Relationship Id="rId72" Type="http://schemas.openxmlformats.org/officeDocument/2006/relationships/image" Target="../media/image1.emf"/><Relationship Id="rId3" Type="http://schemas.openxmlformats.org/officeDocument/2006/relationships/slideLayout" Target="../slideLayouts/slideLayout421.xml"/><Relationship Id="rId12" Type="http://schemas.openxmlformats.org/officeDocument/2006/relationships/slideLayout" Target="../slideLayouts/slideLayout430.xml"/><Relationship Id="rId17" Type="http://schemas.openxmlformats.org/officeDocument/2006/relationships/slideLayout" Target="../slideLayouts/slideLayout435.xml"/><Relationship Id="rId25" Type="http://schemas.openxmlformats.org/officeDocument/2006/relationships/slideLayout" Target="../slideLayouts/slideLayout443.xml"/><Relationship Id="rId33" Type="http://schemas.openxmlformats.org/officeDocument/2006/relationships/slideLayout" Target="../slideLayouts/slideLayout451.xml"/><Relationship Id="rId38" Type="http://schemas.openxmlformats.org/officeDocument/2006/relationships/slideLayout" Target="../slideLayouts/slideLayout456.xml"/><Relationship Id="rId46" Type="http://schemas.openxmlformats.org/officeDocument/2006/relationships/slideLayout" Target="../slideLayouts/slideLayout464.xml"/><Relationship Id="rId59" Type="http://schemas.openxmlformats.org/officeDocument/2006/relationships/slideLayout" Target="../slideLayouts/slideLayout477.xml"/><Relationship Id="rId67" Type="http://schemas.openxmlformats.org/officeDocument/2006/relationships/slideLayout" Target="../slideLayouts/slideLayout485.xml"/><Relationship Id="rId20" Type="http://schemas.openxmlformats.org/officeDocument/2006/relationships/slideLayout" Target="../slideLayouts/slideLayout438.xml"/><Relationship Id="rId41" Type="http://schemas.openxmlformats.org/officeDocument/2006/relationships/slideLayout" Target="../slideLayouts/slideLayout459.xml"/><Relationship Id="rId54" Type="http://schemas.openxmlformats.org/officeDocument/2006/relationships/slideLayout" Target="../slideLayouts/slideLayout472.xml"/><Relationship Id="rId62" Type="http://schemas.openxmlformats.org/officeDocument/2006/relationships/slideLayout" Target="../slideLayouts/slideLayout480.xml"/><Relationship Id="rId70" Type="http://schemas.openxmlformats.org/officeDocument/2006/relationships/tags" Target="../tags/tag397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460.xml"/><Relationship Id="rId13" Type="http://schemas.openxmlformats.org/officeDocument/2006/relationships/image" Target="../media/image11.jpeg"/><Relationship Id="rId3" Type="http://schemas.openxmlformats.org/officeDocument/2006/relationships/slideLayout" Target="../slideLayouts/slideLayout488.xml"/><Relationship Id="rId7" Type="http://schemas.openxmlformats.org/officeDocument/2006/relationships/vmlDrawing" Target="../drawings/vmlDrawing84.vml"/><Relationship Id="rId12" Type="http://schemas.openxmlformats.org/officeDocument/2006/relationships/image" Target="../media/image8.emf"/><Relationship Id="rId2" Type="http://schemas.openxmlformats.org/officeDocument/2006/relationships/slideLayout" Target="../slideLayouts/slideLayout487.xml"/><Relationship Id="rId1" Type="http://schemas.openxmlformats.org/officeDocument/2006/relationships/slideLayout" Target="../slideLayouts/slideLayout486.xml"/><Relationship Id="rId6" Type="http://schemas.openxmlformats.org/officeDocument/2006/relationships/theme" Target="../theme/theme11.xml"/><Relationship Id="rId11" Type="http://schemas.openxmlformats.org/officeDocument/2006/relationships/oleObject" Target="../embeddings/oleObject84.bin"/><Relationship Id="rId5" Type="http://schemas.openxmlformats.org/officeDocument/2006/relationships/slideLayout" Target="../slideLayouts/slideLayout490.xml"/><Relationship Id="rId10" Type="http://schemas.openxmlformats.org/officeDocument/2006/relationships/tags" Target="../tags/tag462.xml"/><Relationship Id="rId4" Type="http://schemas.openxmlformats.org/officeDocument/2006/relationships/slideLayout" Target="../slideLayouts/slideLayout489.xml"/><Relationship Id="rId9" Type="http://schemas.openxmlformats.org/officeDocument/2006/relationships/tags" Target="../tags/tag461.xml"/></Relationships>
</file>

<file path=ppt/slideMasters/_rels/slideMaster1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03.xml"/><Relationship Id="rId18" Type="http://schemas.openxmlformats.org/officeDocument/2006/relationships/slideLayout" Target="../slideLayouts/slideLayout508.xml"/><Relationship Id="rId26" Type="http://schemas.openxmlformats.org/officeDocument/2006/relationships/slideLayout" Target="../slideLayouts/slideLayout516.xml"/><Relationship Id="rId39" Type="http://schemas.openxmlformats.org/officeDocument/2006/relationships/slideLayout" Target="../slideLayouts/slideLayout529.xml"/><Relationship Id="rId21" Type="http://schemas.openxmlformats.org/officeDocument/2006/relationships/slideLayout" Target="../slideLayouts/slideLayout511.xml"/><Relationship Id="rId34" Type="http://schemas.openxmlformats.org/officeDocument/2006/relationships/slideLayout" Target="../slideLayouts/slideLayout524.xml"/><Relationship Id="rId42" Type="http://schemas.openxmlformats.org/officeDocument/2006/relationships/slideLayout" Target="../slideLayouts/slideLayout532.xml"/><Relationship Id="rId47" Type="http://schemas.openxmlformats.org/officeDocument/2006/relationships/slideLayout" Target="../slideLayouts/slideLayout537.xml"/><Relationship Id="rId50" Type="http://schemas.openxmlformats.org/officeDocument/2006/relationships/slideLayout" Target="../slideLayouts/slideLayout540.xml"/><Relationship Id="rId55" Type="http://schemas.openxmlformats.org/officeDocument/2006/relationships/slideLayout" Target="../slideLayouts/slideLayout545.xml"/><Relationship Id="rId63" Type="http://schemas.openxmlformats.org/officeDocument/2006/relationships/slideLayout" Target="../slideLayouts/slideLayout553.xml"/><Relationship Id="rId68" Type="http://schemas.openxmlformats.org/officeDocument/2006/relationships/theme" Target="../theme/theme12.xml"/><Relationship Id="rId7" Type="http://schemas.openxmlformats.org/officeDocument/2006/relationships/slideLayout" Target="../slideLayouts/slideLayout497.xml"/><Relationship Id="rId71" Type="http://schemas.openxmlformats.org/officeDocument/2006/relationships/oleObject" Target="../embeddings/oleObject88.bin"/><Relationship Id="rId2" Type="http://schemas.openxmlformats.org/officeDocument/2006/relationships/slideLayout" Target="../slideLayouts/slideLayout492.xml"/><Relationship Id="rId16" Type="http://schemas.openxmlformats.org/officeDocument/2006/relationships/slideLayout" Target="../slideLayouts/slideLayout506.xml"/><Relationship Id="rId29" Type="http://schemas.openxmlformats.org/officeDocument/2006/relationships/slideLayout" Target="../slideLayouts/slideLayout519.xml"/><Relationship Id="rId1" Type="http://schemas.openxmlformats.org/officeDocument/2006/relationships/slideLayout" Target="../slideLayouts/slideLayout491.xml"/><Relationship Id="rId6" Type="http://schemas.openxmlformats.org/officeDocument/2006/relationships/slideLayout" Target="../slideLayouts/slideLayout496.xml"/><Relationship Id="rId11" Type="http://schemas.openxmlformats.org/officeDocument/2006/relationships/slideLayout" Target="../slideLayouts/slideLayout501.xml"/><Relationship Id="rId24" Type="http://schemas.openxmlformats.org/officeDocument/2006/relationships/slideLayout" Target="../slideLayouts/slideLayout514.xml"/><Relationship Id="rId32" Type="http://schemas.openxmlformats.org/officeDocument/2006/relationships/slideLayout" Target="../slideLayouts/slideLayout522.xml"/><Relationship Id="rId37" Type="http://schemas.openxmlformats.org/officeDocument/2006/relationships/slideLayout" Target="../slideLayouts/slideLayout527.xml"/><Relationship Id="rId40" Type="http://schemas.openxmlformats.org/officeDocument/2006/relationships/slideLayout" Target="../slideLayouts/slideLayout530.xml"/><Relationship Id="rId45" Type="http://schemas.openxmlformats.org/officeDocument/2006/relationships/slideLayout" Target="../slideLayouts/slideLayout535.xml"/><Relationship Id="rId53" Type="http://schemas.openxmlformats.org/officeDocument/2006/relationships/slideLayout" Target="../slideLayouts/slideLayout543.xml"/><Relationship Id="rId58" Type="http://schemas.openxmlformats.org/officeDocument/2006/relationships/slideLayout" Target="../slideLayouts/slideLayout548.xml"/><Relationship Id="rId66" Type="http://schemas.openxmlformats.org/officeDocument/2006/relationships/slideLayout" Target="../slideLayouts/slideLayout556.xml"/><Relationship Id="rId5" Type="http://schemas.openxmlformats.org/officeDocument/2006/relationships/slideLayout" Target="../slideLayouts/slideLayout495.xml"/><Relationship Id="rId15" Type="http://schemas.openxmlformats.org/officeDocument/2006/relationships/slideLayout" Target="../slideLayouts/slideLayout505.xml"/><Relationship Id="rId23" Type="http://schemas.openxmlformats.org/officeDocument/2006/relationships/slideLayout" Target="../slideLayouts/slideLayout513.xml"/><Relationship Id="rId28" Type="http://schemas.openxmlformats.org/officeDocument/2006/relationships/slideLayout" Target="../slideLayouts/slideLayout518.xml"/><Relationship Id="rId36" Type="http://schemas.openxmlformats.org/officeDocument/2006/relationships/slideLayout" Target="../slideLayouts/slideLayout526.xml"/><Relationship Id="rId49" Type="http://schemas.openxmlformats.org/officeDocument/2006/relationships/slideLayout" Target="../slideLayouts/slideLayout539.xml"/><Relationship Id="rId57" Type="http://schemas.openxmlformats.org/officeDocument/2006/relationships/slideLayout" Target="../slideLayouts/slideLayout547.xml"/><Relationship Id="rId61" Type="http://schemas.openxmlformats.org/officeDocument/2006/relationships/slideLayout" Target="../slideLayouts/slideLayout551.xml"/><Relationship Id="rId10" Type="http://schemas.openxmlformats.org/officeDocument/2006/relationships/slideLayout" Target="../slideLayouts/slideLayout500.xml"/><Relationship Id="rId19" Type="http://schemas.openxmlformats.org/officeDocument/2006/relationships/slideLayout" Target="../slideLayouts/slideLayout509.xml"/><Relationship Id="rId31" Type="http://schemas.openxmlformats.org/officeDocument/2006/relationships/slideLayout" Target="../slideLayouts/slideLayout521.xml"/><Relationship Id="rId44" Type="http://schemas.openxmlformats.org/officeDocument/2006/relationships/slideLayout" Target="../slideLayouts/slideLayout534.xml"/><Relationship Id="rId52" Type="http://schemas.openxmlformats.org/officeDocument/2006/relationships/slideLayout" Target="../slideLayouts/slideLayout542.xml"/><Relationship Id="rId60" Type="http://schemas.openxmlformats.org/officeDocument/2006/relationships/slideLayout" Target="../slideLayouts/slideLayout550.xml"/><Relationship Id="rId65" Type="http://schemas.openxmlformats.org/officeDocument/2006/relationships/slideLayout" Target="../slideLayouts/slideLayout555.xml"/><Relationship Id="rId4" Type="http://schemas.openxmlformats.org/officeDocument/2006/relationships/slideLayout" Target="../slideLayouts/slideLayout494.xml"/><Relationship Id="rId9" Type="http://schemas.openxmlformats.org/officeDocument/2006/relationships/slideLayout" Target="../slideLayouts/slideLayout499.xml"/><Relationship Id="rId14" Type="http://schemas.openxmlformats.org/officeDocument/2006/relationships/slideLayout" Target="../slideLayouts/slideLayout504.xml"/><Relationship Id="rId22" Type="http://schemas.openxmlformats.org/officeDocument/2006/relationships/slideLayout" Target="../slideLayouts/slideLayout512.xml"/><Relationship Id="rId27" Type="http://schemas.openxmlformats.org/officeDocument/2006/relationships/slideLayout" Target="../slideLayouts/slideLayout517.xml"/><Relationship Id="rId30" Type="http://schemas.openxmlformats.org/officeDocument/2006/relationships/slideLayout" Target="../slideLayouts/slideLayout520.xml"/><Relationship Id="rId35" Type="http://schemas.openxmlformats.org/officeDocument/2006/relationships/slideLayout" Target="../slideLayouts/slideLayout525.xml"/><Relationship Id="rId43" Type="http://schemas.openxmlformats.org/officeDocument/2006/relationships/slideLayout" Target="../slideLayouts/slideLayout533.xml"/><Relationship Id="rId48" Type="http://schemas.openxmlformats.org/officeDocument/2006/relationships/slideLayout" Target="../slideLayouts/slideLayout538.xml"/><Relationship Id="rId56" Type="http://schemas.openxmlformats.org/officeDocument/2006/relationships/slideLayout" Target="../slideLayouts/slideLayout546.xml"/><Relationship Id="rId64" Type="http://schemas.openxmlformats.org/officeDocument/2006/relationships/slideLayout" Target="../slideLayouts/slideLayout554.xml"/><Relationship Id="rId69" Type="http://schemas.openxmlformats.org/officeDocument/2006/relationships/vmlDrawing" Target="../drawings/vmlDrawing88.vml"/><Relationship Id="rId8" Type="http://schemas.openxmlformats.org/officeDocument/2006/relationships/slideLayout" Target="../slideLayouts/slideLayout498.xml"/><Relationship Id="rId51" Type="http://schemas.openxmlformats.org/officeDocument/2006/relationships/slideLayout" Target="../slideLayouts/slideLayout541.xml"/><Relationship Id="rId72" Type="http://schemas.openxmlformats.org/officeDocument/2006/relationships/image" Target="../media/image1.emf"/><Relationship Id="rId3" Type="http://schemas.openxmlformats.org/officeDocument/2006/relationships/slideLayout" Target="../slideLayouts/slideLayout493.xml"/><Relationship Id="rId12" Type="http://schemas.openxmlformats.org/officeDocument/2006/relationships/slideLayout" Target="../slideLayouts/slideLayout502.xml"/><Relationship Id="rId17" Type="http://schemas.openxmlformats.org/officeDocument/2006/relationships/slideLayout" Target="../slideLayouts/slideLayout507.xml"/><Relationship Id="rId25" Type="http://schemas.openxmlformats.org/officeDocument/2006/relationships/slideLayout" Target="../slideLayouts/slideLayout515.xml"/><Relationship Id="rId33" Type="http://schemas.openxmlformats.org/officeDocument/2006/relationships/slideLayout" Target="../slideLayouts/slideLayout523.xml"/><Relationship Id="rId38" Type="http://schemas.openxmlformats.org/officeDocument/2006/relationships/slideLayout" Target="../slideLayouts/slideLayout528.xml"/><Relationship Id="rId46" Type="http://schemas.openxmlformats.org/officeDocument/2006/relationships/slideLayout" Target="../slideLayouts/slideLayout536.xml"/><Relationship Id="rId59" Type="http://schemas.openxmlformats.org/officeDocument/2006/relationships/slideLayout" Target="../slideLayouts/slideLayout549.xml"/><Relationship Id="rId67" Type="http://schemas.openxmlformats.org/officeDocument/2006/relationships/slideLayout" Target="../slideLayouts/slideLayout557.xml"/><Relationship Id="rId20" Type="http://schemas.openxmlformats.org/officeDocument/2006/relationships/slideLayout" Target="../slideLayouts/slideLayout510.xml"/><Relationship Id="rId41" Type="http://schemas.openxmlformats.org/officeDocument/2006/relationships/slideLayout" Target="../slideLayouts/slideLayout531.xml"/><Relationship Id="rId54" Type="http://schemas.openxmlformats.org/officeDocument/2006/relationships/slideLayout" Target="../slideLayouts/slideLayout544.xml"/><Relationship Id="rId62" Type="http://schemas.openxmlformats.org/officeDocument/2006/relationships/slideLayout" Target="../slideLayouts/slideLayout552.xml"/><Relationship Id="rId70" Type="http://schemas.openxmlformats.org/officeDocument/2006/relationships/tags" Target="../tags/tag466.xml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70.xml"/><Relationship Id="rId18" Type="http://schemas.openxmlformats.org/officeDocument/2006/relationships/slideLayout" Target="../slideLayouts/slideLayout575.xml"/><Relationship Id="rId26" Type="http://schemas.openxmlformats.org/officeDocument/2006/relationships/slideLayout" Target="../slideLayouts/slideLayout583.xml"/><Relationship Id="rId39" Type="http://schemas.openxmlformats.org/officeDocument/2006/relationships/slideLayout" Target="../slideLayouts/slideLayout596.xml"/><Relationship Id="rId21" Type="http://schemas.openxmlformats.org/officeDocument/2006/relationships/slideLayout" Target="../slideLayouts/slideLayout578.xml"/><Relationship Id="rId34" Type="http://schemas.openxmlformats.org/officeDocument/2006/relationships/slideLayout" Target="../slideLayouts/slideLayout591.xml"/><Relationship Id="rId42" Type="http://schemas.openxmlformats.org/officeDocument/2006/relationships/slideLayout" Target="../slideLayouts/slideLayout599.xml"/><Relationship Id="rId47" Type="http://schemas.openxmlformats.org/officeDocument/2006/relationships/slideLayout" Target="../slideLayouts/slideLayout604.xml"/><Relationship Id="rId50" Type="http://schemas.openxmlformats.org/officeDocument/2006/relationships/slideLayout" Target="../slideLayouts/slideLayout607.xml"/><Relationship Id="rId55" Type="http://schemas.openxmlformats.org/officeDocument/2006/relationships/slideLayout" Target="../slideLayouts/slideLayout612.xml"/><Relationship Id="rId63" Type="http://schemas.openxmlformats.org/officeDocument/2006/relationships/slideLayout" Target="../slideLayouts/slideLayout620.xml"/><Relationship Id="rId68" Type="http://schemas.openxmlformats.org/officeDocument/2006/relationships/tags" Target="../tags/tag529.xml"/><Relationship Id="rId7" Type="http://schemas.openxmlformats.org/officeDocument/2006/relationships/slideLayout" Target="../slideLayouts/slideLayout564.xml"/><Relationship Id="rId2" Type="http://schemas.openxmlformats.org/officeDocument/2006/relationships/slideLayout" Target="../slideLayouts/slideLayout559.xml"/><Relationship Id="rId16" Type="http://schemas.openxmlformats.org/officeDocument/2006/relationships/slideLayout" Target="../slideLayouts/slideLayout573.xml"/><Relationship Id="rId29" Type="http://schemas.openxmlformats.org/officeDocument/2006/relationships/slideLayout" Target="../slideLayouts/slideLayout586.xml"/><Relationship Id="rId1" Type="http://schemas.openxmlformats.org/officeDocument/2006/relationships/slideLayout" Target="../slideLayouts/slideLayout558.xml"/><Relationship Id="rId6" Type="http://schemas.openxmlformats.org/officeDocument/2006/relationships/slideLayout" Target="../slideLayouts/slideLayout563.xml"/><Relationship Id="rId11" Type="http://schemas.openxmlformats.org/officeDocument/2006/relationships/slideLayout" Target="../slideLayouts/slideLayout568.xml"/><Relationship Id="rId24" Type="http://schemas.openxmlformats.org/officeDocument/2006/relationships/slideLayout" Target="../slideLayouts/slideLayout581.xml"/><Relationship Id="rId32" Type="http://schemas.openxmlformats.org/officeDocument/2006/relationships/slideLayout" Target="../slideLayouts/slideLayout589.xml"/><Relationship Id="rId37" Type="http://schemas.openxmlformats.org/officeDocument/2006/relationships/slideLayout" Target="../slideLayouts/slideLayout594.xml"/><Relationship Id="rId40" Type="http://schemas.openxmlformats.org/officeDocument/2006/relationships/slideLayout" Target="../slideLayouts/slideLayout597.xml"/><Relationship Id="rId45" Type="http://schemas.openxmlformats.org/officeDocument/2006/relationships/slideLayout" Target="../slideLayouts/slideLayout602.xml"/><Relationship Id="rId53" Type="http://schemas.openxmlformats.org/officeDocument/2006/relationships/slideLayout" Target="../slideLayouts/slideLayout610.xml"/><Relationship Id="rId58" Type="http://schemas.openxmlformats.org/officeDocument/2006/relationships/slideLayout" Target="../slideLayouts/slideLayout615.xml"/><Relationship Id="rId66" Type="http://schemas.openxmlformats.org/officeDocument/2006/relationships/theme" Target="../theme/theme13.xml"/><Relationship Id="rId5" Type="http://schemas.openxmlformats.org/officeDocument/2006/relationships/slideLayout" Target="../slideLayouts/slideLayout562.xml"/><Relationship Id="rId15" Type="http://schemas.openxmlformats.org/officeDocument/2006/relationships/slideLayout" Target="../slideLayouts/slideLayout572.xml"/><Relationship Id="rId23" Type="http://schemas.openxmlformats.org/officeDocument/2006/relationships/slideLayout" Target="../slideLayouts/slideLayout580.xml"/><Relationship Id="rId28" Type="http://schemas.openxmlformats.org/officeDocument/2006/relationships/slideLayout" Target="../slideLayouts/slideLayout585.xml"/><Relationship Id="rId36" Type="http://schemas.openxmlformats.org/officeDocument/2006/relationships/slideLayout" Target="../slideLayouts/slideLayout593.xml"/><Relationship Id="rId49" Type="http://schemas.openxmlformats.org/officeDocument/2006/relationships/slideLayout" Target="../slideLayouts/slideLayout606.xml"/><Relationship Id="rId57" Type="http://schemas.openxmlformats.org/officeDocument/2006/relationships/slideLayout" Target="../slideLayouts/slideLayout614.xml"/><Relationship Id="rId61" Type="http://schemas.openxmlformats.org/officeDocument/2006/relationships/slideLayout" Target="../slideLayouts/slideLayout618.xml"/><Relationship Id="rId10" Type="http://schemas.openxmlformats.org/officeDocument/2006/relationships/slideLayout" Target="../slideLayouts/slideLayout567.xml"/><Relationship Id="rId19" Type="http://schemas.openxmlformats.org/officeDocument/2006/relationships/slideLayout" Target="../slideLayouts/slideLayout576.xml"/><Relationship Id="rId31" Type="http://schemas.openxmlformats.org/officeDocument/2006/relationships/slideLayout" Target="../slideLayouts/slideLayout588.xml"/><Relationship Id="rId44" Type="http://schemas.openxmlformats.org/officeDocument/2006/relationships/slideLayout" Target="../slideLayouts/slideLayout601.xml"/><Relationship Id="rId52" Type="http://schemas.openxmlformats.org/officeDocument/2006/relationships/slideLayout" Target="../slideLayouts/slideLayout609.xml"/><Relationship Id="rId60" Type="http://schemas.openxmlformats.org/officeDocument/2006/relationships/slideLayout" Target="../slideLayouts/slideLayout617.xml"/><Relationship Id="rId65" Type="http://schemas.openxmlformats.org/officeDocument/2006/relationships/slideLayout" Target="../slideLayouts/slideLayout622.xml"/><Relationship Id="rId4" Type="http://schemas.openxmlformats.org/officeDocument/2006/relationships/slideLayout" Target="../slideLayouts/slideLayout561.xml"/><Relationship Id="rId9" Type="http://schemas.openxmlformats.org/officeDocument/2006/relationships/slideLayout" Target="../slideLayouts/slideLayout566.xml"/><Relationship Id="rId14" Type="http://schemas.openxmlformats.org/officeDocument/2006/relationships/slideLayout" Target="../slideLayouts/slideLayout571.xml"/><Relationship Id="rId22" Type="http://schemas.openxmlformats.org/officeDocument/2006/relationships/slideLayout" Target="../slideLayouts/slideLayout579.xml"/><Relationship Id="rId27" Type="http://schemas.openxmlformats.org/officeDocument/2006/relationships/slideLayout" Target="../slideLayouts/slideLayout584.xml"/><Relationship Id="rId30" Type="http://schemas.openxmlformats.org/officeDocument/2006/relationships/slideLayout" Target="../slideLayouts/slideLayout587.xml"/><Relationship Id="rId35" Type="http://schemas.openxmlformats.org/officeDocument/2006/relationships/slideLayout" Target="../slideLayouts/slideLayout592.xml"/><Relationship Id="rId43" Type="http://schemas.openxmlformats.org/officeDocument/2006/relationships/slideLayout" Target="../slideLayouts/slideLayout600.xml"/><Relationship Id="rId48" Type="http://schemas.openxmlformats.org/officeDocument/2006/relationships/slideLayout" Target="../slideLayouts/slideLayout605.xml"/><Relationship Id="rId56" Type="http://schemas.openxmlformats.org/officeDocument/2006/relationships/slideLayout" Target="../slideLayouts/slideLayout613.xml"/><Relationship Id="rId64" Type="http://schemas.openxmlformats.org/officeDocument/2006/relationships/slideLayout" Target="../slideLayouts/slideLayout621.xml"/><Relationship Id="rId69" Type="http://schemas.openxmlformats.org/officeDocument/2006/relationships/oleObject" Target="../embeddings/oleObject99.bin"/><Relationship Id="rId8" Type="http://schemas.openxmlformats.org/officeDocument/2006/relationships/slideLayout" Target="../slideLayouts/slideLayout565.xml"/><Relationship Id="rId51" Type="http://schemas.openxmlformats.org/officeDocument/2006/relationships/slideLayout" Target="../slideLayouts/slideLayout608.xml"/><Relationship Id="rId3" Type="http://schemas.openxmlformats.org/officeDocument/2006/relationships/slideLayout" Target="../slideLayouts/slideLayout560.xml"/><Relationship Id="rId12" Type="http://schemas.openxmlformats.org/officeDocument/2006/relationships/slideLayout" Target="../slideLayouts/slideLayout569.xml"/><Relationship Id="rId17" Type="http://schemas.openxmlformats.org/officeDocument/2006/relationships/slideLayout" Target="../slideLayouts/slideLayout574.xml"/><Relationship Id="rId25" Type="http://schemas.openxmlformats.org/officeDocument/2006/relationships/slideLayout" Target="../slideLayouts/slideLayout582.xml"/><Relationship Id="rId33" Type="http://schemas.openxmlformats.org/officeDocument/2006/relationships/slideLayout" Target="../slideLayouts/slideLayout590.xml"/><Relationship Id="rId38" Type="http://schemas.openxmlformats.org/officeDocument/2006/relationships/slideLayout" Target="../slideLayouts/slideLayout595.xml"/><Relationship Id="rId46" Type="http://schemas.openxmlformats.org/officeDocument/2006/relationships/slideLayout" Target="../slideLayouts/slideLayout603.xml"/><Relationship Id="rId59" Type="http://schemas.openxmlformats.org/officeDocument/2006/relationships/slideLayout" Target="../slideLayouts/slideLayout616.xml"/><Relationship Id="rId67" Type="http://schemas.openxmlformats.org/officeDocument/2006/relationships/vmlDrawing" Target="../drawings/vmlDrawing99.vml"/><Relationship Id="rId20" Type="http://schemas.openxmlformats.org/officeDocument/2006/relationships/slideLayout" Target="../slideLayouts/slideLayout577.xml"/><Relationship Id="rId41" Type="http://schemas.openxmlformats.org/officeDocument/2006/relationships/slideLayout" Target="../slideLayouts/slideLayout598.xml"/><Relationship Id="rId54" Type="http://schemas.openxmlformats.org/officeDocument/2006/relationships/slideLayout" Target="../slideLayouts/slideLayout611.xml"/><Relationship Id="rId62" Type="http://schemas.openxmlformats.org/officeDocument/2006/relationships/slideLayout" Target="../slideLayouts/slideLayout619.xml"/><Relationship Id="rId70" Type="http://schemas.openxmlformats.org/officeDocument/2006/relationships/image" Target="../media/image1.emf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591.xml"/><Relationship Id="rId13" Type="http://schemas.openxmlformats.org/officeDocument/2006/relationships/image" Target="../media/image11.jpeg"/><Relationship Id="rId3" Type="http://schemas.openxmlformats.org/officeDocument/2006/relationships/slideLayout" Target="../slideLayouts/slideLayout625.xml"/><Relationship Id="rId7" Type="http://schemas.openxmlformats.org/officeDocument/2006/relationships/vmlDrawing" Target="../drawings/vmlDrawing109.vml"/><Relationship Id="rId12" Type="http://schemas.openxmlformats.org/officeDocument/2006/relationships/image" Target="../media/image8.emf"/><Relationship Id="rId2" Type="http://schemas.openxmlformats.org/officeDocument/2006/relationships/slideLayout" Target="../slideLayouts/slideLayout624.xml"/><Relationship Id="rId1" Type="http://schemas.openxmlformats.org/officeDocument/2006/relationships/slideLayout" Target="../slideLayouts/slideLayout623.xml"/><Relationship Id="rId6" Type="http://schemas.openxmlformats.org/officeDocument/2006/relationships/theme" Target="../theme/theme14.xml"/><Relationship Id="rId11" Type="http://schemas.openxmlformats.org/officeDocument/2006/relationships/oleObject" Target="../embeddings/oleObject109.bin"/><Relationship Id="rId5" Type="http://schemas.openxmlformats.org/officeDocument/2006/relationships/slideLayout" Target="../slideLayouts/slideLayout627.xml"/><Relationship Id="rId10" Type="http://schemas.openxmlformats.org/officeDocument/2006/relationships/tags" Target="../tags/tag593.xml"/><Relationship Id="rId4" Type="http://schemas.openxmlformats.org/officeDocument/2006/relationships/slideLayout" Target="../slideLayouts/slideLayout626.xml"/><Relationship Id="rId9" Type="http://schemas.openxmlformats.org/officeDocument/2006/relationships/tags" Target="../tags/tag592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13.vml"/><Relationship Id="rId13" Type="http://schemas.openxmlformats.org/officeDocument/2006/relationships/image" Target="../media/image8.emf"/><Relationship Id="rId3" Type="http://schemas.openxmlformats.org/officeDocument/2006/relationships/slideLayout" Target="../slideLayouts/slideLayout630.xml"/><Relationship Id="rId7" Type="http://schemas.openxmlformats.org/officeDocument/2006/relationships/theme" Target="../theme/theme15.xml"/><Relationship Id="rId12" Type="http://schemas.openxmlformats.org/officeDocument/2006/relationships/oleObject" Target="../embeddings/oleObject113.bin"/><Relationship Id="rId2" Type="http://schemas.openxmlformats.org/officeDocument/2006/relationships/slideLayout" Target="../slideLayouts/slideLayout629.xml"/><Relationship Id="rId1" Type="http://schemas.openxmlformats.org/officeDocument/2006/relationships/slideLayout" Target="../slideLayouts/slideLayout628.xml"/><Relationship Id="rId6" Type="http://schemas.openxmlformats.org/officeDocument/2006/relationships/slideLayout" Target="../slideLayouts/slideLayout633.xml"/><Relationship Id="rId11" Type="http://schemas.openxmlformats.org/officeDocument/2006/relationships/tags" Target="../tags/tag599.xml"/><Relationship Id="rId5" Type="http://schemas.openxmlformats.org/officeDocument/2006/relationships/slideLayout" Target="../slideLayouts/slideLayout632.xml"/><Relationship Id="rId10" Type="http://schemas.openxmlformats.org/officeDocument/2006/relationships/tags" Target="../tags/tag598.xml"/><Relationship Id="rId4" Type="http://schemas.openxmlformats.org/officeDocument/2006/relationships/slideLayout" Target="../slideLayouts/slideLayout631.xml"/><Relationship Id="rId9" Type="http://schemas.openxmlformats.org/officeDocument/2006/relationships/tags" Target="../tags/tag597.xml"/><Relationship Id="rId14" Type="http://schemas.openxmlformats.org/officeDocument/2006/relationships/image" Target="../media/image13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slideLayout" Target="../slideLayouts/slideLayout69.xml"/><Relationship Id="rId7" Type="http://schemas.openxmlformats.org/officeDocument/2006/relationships/tags" Target="../tags/tag65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vmlDrawing" Target="../drawings/vmlDrawing11.vml"/><Relationship Id="rId11" Type="http://schemas.openxmlformats.org/officeDocument/2006/relationships/image" Target="../media/image8.emf"/><Relationship Id="rId5" Type="http://schemas.openxmlformats.org/officeDocument/2006/relationships/theme" Target="../theme/theme2.xml"/><Relationship Id="rId10" Type="http://schemas.openxmlformats.org/officeDocument/2006/relationships/oleObject" Target="../embeddings/oleObject11.bin"/><Relationship Id="rId4" Type="http://schemas.openxmlformats.org/officeDocument/2006/relationships/slideLayout" Target="../slideLayouts/slideLayout70.xml"/><Relationship Id="rId9" Type="http://schemas.openxmlformats.org/officeDocument/2006/relationships/tags" Target="../tags/tag67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3.xml"/><Relationship Id="rId18" Type="http://schemas.openxmlformats.org/officeDocument/2006/relationships/slideLayout" Target="../slideLayouts/slideLayout88.xml"/><Relationship Id="rId26" Type="http://schemas.openxmlformats.org/officeDocument/2006/relationships/slideLayout" Target="../slideLayouts/slideLayout96.xml"/><Relationship Id="rId39" Type="http://schemas.openxmlformats.org/officeDocument/2006/relationships/slideLayout" Target="../slideLayouts/slideLayout109.xml"/><Relationship Id="rId21" Type="http://schemas.openxmlformats.org/officeDocument/2006/relationships/slideLayout" Target="../slideLayouts/slideLayout91.xml"/><Relationship Id="rId34" Type="http://schemas.openxmlformats.org/officeDocument/2006/relationships/slideLayout" Target="../slideLayouts/slideLayout104.xml"/><Relationship Id="rId42" Type="http://schemas.openxmlformats.org/officeDocument/2006/relationships/slideLayout" Target="../slideLayouts/slideLayout112.xml"/><Relationship Id="rId47" Type="http://schemas.openxmlformats.org/officeDocument/2006/relationships/slideLayout" Target="../slideLayouts/slideLayout117.xml"/><Relationship Id="rId50" Type="http://schemas.openxmlformats.org/officeDocument/2006/relationships/slideLayout" Target="../slideLayouts/slideLayout120.xml"/><Relationship Id="rId55" Type="http://schemas.openxmlformats.org/officeDocument/2006/relationships/slideLayout" Target="../slideLayouts/slideLayout125.xml"/><Relationship Id="rId63" Type="http://schemas.openxmlformats.org/officeDocument/2006/relationships/slideLayout" Target="../slideLayouts/slideLayout133.xml"/><Relationship Id="rId68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77.xml"/><Relationship Id="rId71" Type="http://schemas.openxmlformats.org/officeDocument/2006/relationships/tags" Target="../tags/tag71.xml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29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81.xml"/><Relationship Id="rId24" Type="http://schemas.openxmlformats.org/officeDocument/2006/relationships/slideLayout" Target="../slideLayouts/slideLayout94.xml"/><Relationship Id="rId32" Type="http://schemas.openxmlformats.org/officeDocument/2006/relationships/slideLayout" Target="../slideLayouts/slideLayout102.xml"/><Relationship Id="rId37" Type="http://schemas.openxmlformats.org/officeDocument/2006/relationships/slideLayout" Target="../slideLayouts/slideLayout107.xml"/><Relationship Id="rId40" Type="http://schemas.openxmlformats.org/officeDocument/2006/relationships/slideLayout" Target="../slideLayouts/slideLayout110.xml"/><Relationship Id="rId45" Type="http://schemas.openxmlformats.org/officeDocument/2006/relationships/slideLayout" Target="../slideLayouts/slideLayout115.xml"/><Relationship Id="rId53" Type="http://schemas.openxmlformats.org/officeDocument/2006/relationships/slideLayout" Target="../slideLayouts/slideLayout123.xml"/><Relationship Id="rId58" Type="http://schemas.openxmlformats.org/officeDocument/2006/relationships/slideLayout" Target="../slideLayouts/slideLayout128.xml"/><Relationship Id="rId66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23" Type="http://schemas.openxmlformats.org/officeDocument/2006/relationships/slideLayout" Target="../slideLayouts/slideLayout93.xml"/><Relationship Id="rId28" Type="http://schemas.openxmlformats.org/officeDocument/2006/relationships/slideLayout" Target="../slideLayouts/slideLayout98.xml"/><Relationship Id="rId36" Type="http://schemas.openxmlformats.org/officeDocument/2006/relationships/slideLayout" Target="../slideLayouts/slideLayout106.xml"/><Relationship Id="rId49" Type="http://schemas.openxmlformats.org/officeDocument/2006/relationships/slideLayout" Target="../slideLayouts/slideLayout119.xml"/><Relationship Id="rId57" Type="http://schemas.openxmlformats.org/officeDocument/2006/relationships/slideLayout" Target="../slideLayouts/slideLayout127.xml"/><Relationship Id="rId61" Type="http://schemas.openxmlformats.org/officeDocument/2006/relationships/slideLayout" Target="../slideLayouts/slideLayout131.xml"/><Relationship Id="rId10" Type="http://schemas.openxmlformats.org/officeDocument/2006/relationships/slideLayout" Target="../slideLayouts/slideLayout80.xml"/><Relationship Id="rId19" Type="http://schemas.openxmlformats.org/officeDocument/2006/relationships/slideLayout" Target="../slideLayouts/slideLayout89.xml"/><Relationship Id="rId31" Type="http://schemas.openxmlformats.org/officeDocument/2006/relationships/slideLayout" Target="../slideLayouts/slideLayout101.xml"/><Relationship Id="rId44" Type="http://schemas.openxmlformats.org/officeDocument/2006/relationships/slideLayout" Target="../slideLayouts/slideLayout114.xml"/><Relationship Id="rId52" Type="http://schemas.openxmlformats.org/officeDocument/2006/relationships/slideLayout" Target="../slideLayouts/slideLayout122.xml"/><Relationship Id="rId60" Type="http://schemas.openxmlformats.org/officeDocument/2006/relationships/slideLayout" Target="../slideLayouts/slideLayout130.xml"/><Relationship Id="rId65" Type="http://schemas.openxmlformats.org/officeDocument/2006/relationships/slideLayout" Target="../slideLayouts/slideLayout135.xml"/><Relationship Id="rId73" Type="http://schemas.openxmlformats.org/officeDocument/2006/relationships/image" Target="../media/image1.emf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Relationship Id="rId22" Type="http://schemas.openxmlformats.org/officeDocument/2006/relationships/slideLayout" Target="../slideLayouts/slideLayout92.xml"/><Relationship Id="rId27" Type="http://schemas.openxmlformats.org/officeDocument/2006/relationships/slideLayout" Target="../slideLayouts/slideLayout97.xml"/><Relationship Id="rId30" Type="http://schemas.openxmlformats.org/officeDocument/2006/relationships/slideLayout" Target="../slideLayouts/slideLayout100.xml"/><Relationship Id="rId35" Type="http://schemas.openxmlformats.org/officeDocument/2006/relationships/slideLayout" Target="../slideLayouts/slideLayout105.xml"/><Relationship Id="rId43" Type="http://schemas.openxmlformats.org/officeDocument/2006/relationships/slideLayout" Target="../slideLayouts/slideLayout113.xml"/><Relationship Id="rId48" Type="http://schemas.openxmlformats.org/officeDocument/2006/relationships/slideLayout" Target="../slideLayouts/slideLayout118.xml"/><Relationship Id="rId56" Type="http://schemas.openxmlformats.org/officeDocument/2006/relationships/slideLayout" Target="../slideLayouts/slideLayout126.xml"/><Relationship Id="rId64" Type="http://schemas.openxmlformats.org/officeDocument/2006/relationships/slideLayout" Target="../slideLayouts/slideLayout134.xml"/><Relationship Id="rId69" Type="http://schemas.openxmlformats.org/officeDocument/2006/relationships/theme" Target="../theme/theme3.xml"/><Relationship Id="rId8" Type="http://schemas.openxmlformats.org/officeDocument/2006/relationships/slideLayout" Target="../slideLayouts/slideLayout78.xml"/><Relationship Id="rId51" Type="http://schemas.openxmlformats.org/officeDocument/2006/relationships/slideLayout" Target="../slideLayouts/slideLayout121.xml"/><Relationship Id="rId72" Type="http://schemas.openxmlformats.org/officeDocument/2006/relationships/oleObject" Target="../embeddings/oleObject15.bin"/><Relationship Id="rId3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5" Type="http://schemas.openxmlformats.org/officeDocument/2006/relationships/slideLayout" Target="../slideLayouts/slideLayout95.xml"/><Relationship Id="rId33" Type="http://schemas.openxmlformats.org/officeDocument/2006/relationships/slideLayout" Target="../slideLayouts/slideLayout103.xml"/><Relationship Id="rId38" Type="http://schemas.openxmlformats.org/officeDocument/2006/relationships/slideLayout" Target="../slideLayouts/slideLayout108.xml"/><Relationship Id="rId46" Type="http://schemas.openxmlformats.org/officeDocument/2006/relationships/slideLayout" Target="../slideLayouts/slideLayout116.xml"/><Relationship Id="rId59" Type="http://schemas.openxmlformats.org/officeDocument/2006/relationships/slideLayout" Target="../slideLayouts/slideLayout129.xml"/><Relationship Id="rId67" Type="http://schemas.openxmlformats.org/officeDocument/2006/relationships/slideLayout" Target="../slideLayouts/slideLayout137.xml"/><Relationship Id="rId20" Type="http://schemas.openxmlformats.org/officeDocument/2006/relationships/slideLayout" Target="../slideLayouts/slideLayout90.xml"/><Relationship Id="rId41" Type="http://schemas.openxmlformats.org/officeDocument/2006/relationships/slideLayout" Target="../slideLayouts/slideLayout111.xml"/><Relationship Id="rId54" Type="http://schemas.openxmlformats.org/officeDocument/2006/relationships/slideLayout" Target="../slideLayouts/slideLayout124.xml"/><Relationship Id="rId62" Type="http://schemas.openxmlformats.org/officeDocument/2006/relationships/slideLayout" Target="../slideLayouts/slideLayout132.xml"/><Relationship Id="rId70" Type="http://schemas.openxmlformats.org/officeDocument/2006/relationships/vmlDrawing" Target="../drawings/vmlDrawing15.v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1.xml"/><Relationship Id="rId18" Type="http://schemas.openxmlformats.org/officeDocument/2006/relationships/slideLayout" Target="../slideLayouts/slideLayout156.xml"/><Relationship Id="rId26" Type="http://schemas.openxmlformats.org/officeDocument/2006/relationships/slideLayout" Target="../slideLayouts/slideLayout164.xml"/><Relationship Id="rId39" Type="http://schemas.openxmlformats.org/officeDocument/2006/relationships/slideLayout" Target="../slideLayouts/slideLayout177.xml"/><Relationship Id="rId21" Type="http://schemas.openxmlformats.org/officeDocument/2006/relationships/slideLayout" Target="../slideLayouts/slideLayout159.xml"/><Relationship Id="rId34" Type="http://schemas.openxmlformats.org/officeDocument/2006/relationships/slideLayout" Target="../slideLayouts/slideLayout172.xml"/><Relationship Id="rId42" Type="http://schemas.openxmlformats.org/officeDocument/2006/relationships/slideLayout" Target="../slideLayouts/slideLayout180.xml"/><Relationship Id="rId47" Type="http://schemas.openxmlformats.org/officeDocument/2006/relationships/slideLayout" Target="../slideLayouts/slideLayout185.xml"/><Relationship Id="rId50" Type="http://schemas.openxmlformats.org/officeDocument/2006/relationships/slideLayout" Target="../slideLayouts/slideLayout188.xml"/><Relationship Id="rId55" Type="http://schemas.openxmlformats.org/officeDocument/2006/relationships/slideLayout" Target="../slideLayouts/slideLayout193.xml"/><Relationship Id="rId63" Type="http://schemas.openxmlformats.org/officeDocument/2006/relationships/slideLayout" Target="../slideLayouts/slideLayout201.xml"/><Relationship Id="rId68" Type="http://schemas.openxmlformats.org/officeDocument/2006/relationships/slideLayout" Target="../slideLayouts/slideLayout206.xml"/><Relationship Id="rId7" Type="http://schemas.openxmlformats.org/officeDocument/2006/relationships/slideLayout" Target="../slideLayouts/slideLayout145.xml"/><Relationship Id="rId71" Type="http://schemas.openxmlformats.org/officeDocument/2006/relationships/tags" Target="../tags/tag134.xml"/><Relationship Id="rId2" Type="http://schemas.openxmlformats.org/officeDocument/2006/relationships/slideLayout" Target="../slideLayouts/slideLayout140.xml"/><Relationship Id="rId16" Type="http://schemas.openxmlformats.org/officeDocument/2006/relationships/slideLayout" Target="../slideLayouts/slideLayout154.xml"/><Relationship Id="rId29" Type="http://schemas.openxmlformats.org/officeDocument/2006/relationships/slideLayout" Target="../slideLayouts/slideLayout167.xml"/><Relationship Id="rId11" Type="http://schemas.openxmlformats.org/officeDocument/2006/relationships/slideLayout" Target="../slideLayouts/slideLayout149.xml"/><Relationship Id="rId24" Type="http://schemas.openxmlformats.org/officeDocument/2006/relationships/slideLayout" Target="../slideLayouts/slideLayout162.xml"/><Relationship Id="rId32" Type="http://schemas.openxmlformats.org/officeDocument/2006/relationships/slideLayout" Target="../slideLayouts/slideLayout170.xml"/><Relationship Id="rId37" Type="http://schemas.openxmlformats.org/officeDocument/2006/relationships/slideLayout" Target="../slideLayouts/slideLayout175.xml"/><Relationship Id="rId40" Type="http://schemas.openxmlformats.org/officeDocument/2006/relationships/slideLayout" Target="../slideLayouts/slideLayout178.xml"/><Relationship Id="rId45" Type="http://schemas.openxmlformats.org/officeDocument/2006/relationships/slideLayout" Target="../slideLayouts/slideLayout183.xml"/><Relationship Id="rId53" Type="http://schemas.openxmlformats.org/officeDocument/2006/relationships/slideLayout" Target="../slideLayouts/slideLayout191.xml"/><Relationship Id="rId58" Type="http://schemas.openxmlformats.org/officeDocument/2006/relationships/slideLayout" Target="../slideLayouts/slideLayout196.xml"/><Relationship Id="rId66" Type="http://schemas.openxmlformats.org/officeDocument/2006/relationships/slideLayout" Target="../slideLayouts/slideLayout204.xml"/><Relationship Id="rId5" Type="http://schemas.openxmlformats.org/officeDocument/2006/relationships/slideLayout" Target="../slideLayouts/slideLayout143.xml"/><Relationship Id="rId15" Type="http://schemas.openxmlformats.org/officeDocument/2006/relationships/slideLayout" Target="../slideLayouts/slideLayout153.xml"/><Relationship Id="rId23" Type="http://schemas.openxmlformats.org/officeDocument/2006/relationships/slideLayout" Target="../slideLayouts/slideLayout161.xml"/><Relationship Id="rId28" Type="http://schemas.openxmlformats.org/officeDocument/2006/relationships/slideLayout" Target="../slideLayouts/slideLayout166.xml"/><Relationship Id="rId36" Type="http://schemas.openxmlformats.org/officeDocument/2006/relationships/slideLayout" Target="../slideLayouts/slideLayout174.xml"/><Relationship Id="rId49" Type="http://schemas.openxmlformats.org/officeDocument/2006/relationships/slideLayout" Target="../slideLayouts/slideLayout187.xml"/><Relationship Id="rId57" Type="http://schemas.openxmlformats.org/officeDocument/2006/relationships/slideLayout" Target="../slideLayouts/slideLayout195.xml"/><Relationship Id="rId61" Type="http://schemas.openxmlformats.org/officeDocument/2006/relationships/slideLayout" Target="../slideLayouts/slideLayout199.xml"/><Relationship Id="rId10" Type="http://schemas.openxmlformats.org/officeDocument/2006/relationships/slideLayout" Target="../slideLayouts/slideLayout148.xml"/><Relationship Id="rId19" Type="http://schemas.openxmlformats.org/officeDocument/2006/relationships/slideLayout" Target="../slideLayouts/slideLayout157.xml"/><Relationship Id="rId31" Type="http://schemas.openxmlformats.org/officeDocument/2006/relationships/slideLayout" Target="../slideLayouts/slideLayout169.xml"/><Relationship Id="rId44" Type="http://schemas.openxmlformats.org/officeDocument/2006/relationships/slideLayout" Target="../slideLayouts/slideLayout182.xml"/><Relationship Id="rId52" Type="http://schemas.openxmlformats.org/officeDocument/2006/relationships/slideLayout" Target="../slideLayouts/slideLayout190.xml"/><Relationship Id="rId60" Type="http://schemas.openxmlformats.org/officeDocument/2006/relationships/slideLayout" Target="../slideLayouts/slideLayout198.xml"/><Relationship Id="rId65" Type="http://schemas.openxmlformats.org/officeDocument/2006/relationships/slideLayout" Target="../slideLayouts/slideLayout203.xml"/><Relationship Id="rId73" Type="http://schemas.openxmlformats.org/officeDocument/2006/relationships/image" Target="../media/image1.emf"/><Relationship Id="rId4" Type="http://schemas.openxmlformats.org/officeDocument/2006/relationships/slideLayout" Target="../slideLayouts/slideLayout142.xml"/><Relationship Id="rId9" Type="http://schemas.openxmlformats.org/officeDocument/2006/relationships/slideLayout" Target="../slideLayouts/slideLayout147.xml"/><Relationship Id="rId14" Type="http://schemas.openxmlformats.org/officeDocument/2006/relationships/slideLayout" Target="../slideLayouts/slideLayout152.xml"/><Relationship Id="rId22" Type="http://schemas.openxmlformats.org/officeDocument/2006/relationships/slideLayout" Target="../slideLayouts/slideLayout160.xml"/><Relationship Id="rId27" Type="http://schemas.openxmlformats.org/officeDocument/2006/relationships/slideLayout" Target="../slideLayouts/slideLayout165.xml"/><Relationship Id="rId30" Type="http://schemas.openxmlformats.org/officeDocument/2006/relationships/slideLayout" Target="../slideLayouts/slideLayout168.xml"/><Relationship Id="rId35" Type="http://schemas.openxmlformats.org/officeDocument/2006/relationships/slideLayout" Target="../slideLayouts/slideLayout173.xml"/><Relationship Id="rId43" Type="http://schemas.openxmlformats.org/officeDocument/2006/relationships/slideLayout" Target="../slideLayouts/slideLayout181.xml"/><Relationship Id="rId48" Type="http://schemas.openxmlformats.org/officeDocument/2006/relationships/slideLayout" Target="../slideLayouts/slideLayout186.xml"/><Relationship Id="rId56" Type="http://schemas.openxmlformats.org/officeDocument/2006/relationships/slideLayout" Target="../slideLayouts/slideLayout194.xml"/><Relationship Id="rId64" Type="http://schemas.openxmlformats.org/officeDocument/2006/relationships/slideLayout" Target="../slideLayouts/slideLayout202.xml"/><Relationship Id="rId69" Type="http://schemas.openxmlformats.org/officeDocument/2006/relationships/theme" Target="../theme/theme4.xml"/><Relationship Id="rId8" Type="http://schemas.openxmlformats.org/officeDocument/2006/relationships/slideLayout" Target="../slideLayouts/slideLayout146.xml"/><Relationship Id="rId51" Type="http://schemas.openxmlformats.org/officeDocument/2006/relationships/slideLayout" Target="../slideLayouts/slideLayout189.xml"/><Relationship Id="rId72" Type="http://schemas.openxmlformats.org/officeDocument/2006/relationships/oleObject" Target="../embeddings/oleObject25.bin"/><Relationship Id="rId3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50.xml"/><Relationship Id="rId17" Type="http://schemas.openxmlformats.org/officeDocument/2006/relationships/slideLayout" Target="../slideLayouts/slideLayout155.xml"/><Relationship Id="rId25" Type="http://schemas.openxmlformats.org/officeDocument/2006/relationships/slideLayout" Target="../slideLayouts/slideLayout163.xml"/><Relationship Id="rId33" Type="http://schemas.openxmlformats.org/officeDocument/2006/relationships/slideLayout" Target="../slideLayouts/slideLayout171.xml"/><Relationship Id="rId38" Type="http://schemas.openxmlformats.org/officeDocument/2006/relationships/slideLayout" Target="../slideLayouts/slideLayout176.xml"/><Relationship Id="rId46" Type="http://schemas.openxmlformats.org/officeDocument/2006/relationships/slideLayout" Target="../slideLayouts/slideLayout184.xml"/><Relationship Id="rId59" Type="http://schemas.openxmlformats.org/officeDocument/2006/relationships/slideLayout" Target="../slideLayouts/slideLayout197.xml"/><Relationship Id="rId67" Type="http://schemas.openxmlformats.org/officeDocument/2006/relationships/slideLayout" Target="../slideLayouts/slideLayout205.xml"/><Relationship Id="rId20" Type="http://schemas.openxmlformats.org/officeDocument/2006/relationships/slideLayout" Target="../slideLayouts/slideLayout158.xml"/><Relationship Id="rId41" Type="http://schemas.openxmlformats.org/officeDocument/2006/relationships/slideLayout" Target="../slideLayouts/slideLayout179.xml"/><Relationship Id="rId54" Type="http://schemas.openxmlformats.org/officeDocument/2006/relationships/slideLayout" Target="../slideLayouts/slideLayout192.xml"/><Relationship Id="rId62" Type="http://schemas.openxmlformats.org/officeDocument/2006/relationships/slideLayout" Target="../slideLayouts/slideLayout200.xml"/><Relationship Id="rId70" Type="http://schemas.openxmlformats.org/officeDocument/2006/relationships/vmlDrawing" Target="../drawings/vmlDrawing25.v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19.xml"/><Relationship Id="rId18" Type="http://schemas.openxmlformats.org/officeDocument/2006/relationships/slideLayout" Target="../slideLayouts/slideLayout224.xml"/><Relationship Id="rId26" Type="http://schemas.openxmlformats.org/officeDocument/2006/relationships/slideLayout" Target="../slideLayouts/slideLayout232.xml"/><Relationship Id="rId39" Type="http://schemas.openxmlformats.org/officeDocument/2006/relationships/slideLayout" Target="../slideLayouts/slideLayout245.xml"/><Relationship Id="rId21" Type="http://schemas.openxmlformats.org/officeDocument/2006/relationships/slideLayout" Target="../slideLayouts/slideLayout227.xml"/><Relationship Id="rId34" Type="http://schemas.openxmlformats.org/officeDocument/2006/relationships/slideLayout" Target="../slideLayouts/slideLayout240.xml"/><Relationship Id="rId42" Type="http://schemas.openxmlformats.org/officeDocument/2006/relationships/slideLayout" Target="../slideLayouts/slideLayout248.xml"/><Relationship Id="rId47" Type="http://schemas.openxmlformats.org/officeDocument/2006/relationships/slideLayout" Target="../slideLayouts/slideLayout253.xml"/><Relationship Id="rId50" Type="http://schemas.openxmlformats.org/officeDocument/2006/relationships/slideLayout" Target="../slideLayouts/slideLayout256.xml"/><Relationship Id="rId55" Type="http://schemas.openxmlformats.org/officeDocument/2006/relationships/slideLayout" Target="../slideLayouts/slideLayout261.xml"/><Relationship Id="rId63" Type="http://schemas.openxmlformats.org/officeDocument/2006/relationships/slideLayout" Target="../slideLayouts/slideLayout269.xml"/><Relationship Id="rId68" Type="http://schemas.openxmlformats.org/officeDocument/2006/relationships/slideLayout" Target="../slideLayouts/slideLayout274.xml"/><Relationship Id="rId7" Type="http://schemas.openxmlformats.org/officeDocument/2006/relationships/slideLayout" Target="../slideLayouts/slideLayout213.xml"/><Relationship Id="rId71" Type="http://schemas.openxmlformats.org/officeDocument/2006/relationships/tags" Target="../tags/tag197.xml"/><Relationship Id="rId2" Type="http://schemas.openxmlformats.org/officeDocument/2006/relationships/slideLayout" Target="../slideLayouts/slideLayout208.xml"/><Relationship Id="rId16" Type="http://schemas.openxmlformats.org/officeDocument/2006/relationships/slideLayout" Target="../slideLayouts/slideLayout222.xml"/><Relationship Id="rId29" Type="http://schemas.openxmlformats.org/officeDocument/2006/relationships/slideLayout" Target="../slideLayouts/slideLayout235.xml"/><Relationship Id="rId11" Type="http://schemas.openxmlformats.org/officeDocument/2006/relationships/slideLayout" Target="../slideLayouts/slideLayout217.xml"/><Relationship Id="rId24" Type="http://schemas.openxmlformats.org/officeDocument/2006/relationships/slideLayout" Target="../slideLayouts/slideLayout230.xml"/><Relationship Id="rId32" Type="http://schemas.openxmlformats.org/officeDocument/2006/relationships/slideLayout" Target="../slideLayouts/slideLayout238.xml"/><Relationship Id="rId37" Type="http://schemas.openxmlformats.org/officeDocument/2006/relationships/slideLayout" Target="../slideLayouts/slideLayout243.xml"/><Relationship Id="rId40" Type="http://schemas.openxmlformats.org/officeDocument/2006/relationships/slideLayout" Target="../slideLayouts/slideLayout246.xml"/><Relationship Id="rId45" Type="http://schemas.openxmlformats.org/officeDocument/2006/relationships/slideLayout" Target="../slideLayouts/slideLayout251.xml"/><Relationship Id="rId53" Type="http://schemas.openxmlformats.org/officeDocument/2006/relationships/slideLayout" Target="../slideLayouts/slideLayout259.xml"/><Relationship Id="rId58" Type="http://schemas.openxmlformats.org/officeDocument/2006/relationships/slideLayout" Target="../slideLayouts/slideLayout264.xml"/><Relationship Id="rId66" Type="http://schemas.openxmlformats.org/officeDocument/2006/relationships/slideLayout" Target="../slideLayouts/slideLayout272.xml"/><Relationship Id="rId5" Type="http://schemas.openxmlformats.org/officeDocument/2006/relationships/slideLayout" Target="../slideLayouts/slideLayout211.xml"/><Relationship Id="rId15" Type="http://schemas.openxmlformats.org/officeDocument/2006/relationships/slideLayout" Target="../slideLayouts/slideLayout221.xml"/><Relationship Id="rId23" Type="http://schemas.openxmlformats.org/officeDocument/2006/relationships/slideLayout" Target="../slideLayouts/slideLayout229.xml"/><Relationship Id="rId28" Type="http://schemas.openxmlformats.org/officeDocument/2006/relationships/slideLayout" Target="../slideLayouts/slideLayout234.xml"/><Relationship Id="rId36" Type="http://schemas.openxmlformats.org/officeDocument/2006/relationships/slideLayout" Target="../slideLayouts/slideLayout242.xml"/><Relationship Id="rId49" Type="http://schemas.openxmlformats.org/officeDocument/2006/relationships/slideLayout" Target="../slideLayouts/slideLayout255.xml"/><Relationship Id="rId57" Type="http://schemas.openxmlformats.org/officeDocument/2006/relationships/slideLayout" Target="../slideLayouts/slideLayout263.xml"/><Relationship Id="rId61" Type="http://schemas.openxmlformats.org/officeDocument/2006/relationships/slideLayout" Target="../slideLayouts/slideLayout267.xml"/><Relationship Id="rId10" Type="http://schemas.openxmlformats.org/officeDocument/2006/relationships/slideLayout" Target="../slideLayouts/slideLayout216.xml"/><Relationship Id="rId19" Type="http://schemas.openxmlformats.org/officeDocument/2006/relationships/slideLayout" Target="../slideLayouts/slideLayout225.xml"/><Relationship Id="rId31" Type="http://schemas.openxmlformats.org/officeDocument/2006/relationships/slideLayout" Target="../slideLayouts/slideLayout237.xml"/><Relationship Id="rId44" Type="http://schemas.openxmlformats.org/officeDocument/2006/relationships/slideLayout" Target="../slideLayouts/slideLayout250.xml"/><Relationship Id="rId52" Type="http://schemas.openxmlformats.org/officeDocument/2006/relationships/slideLayout" Target="../slideLayouts/slideLayout258.xml"/><Relationship Id="rId60" Type="http://schemas.openxmlformats.org/officeDocument/2006/relationships/slideLayout" Target="../slideLayouts/slideLayout266.xml"/><Relationship Id="rId65" Type="http://schemas.openxmlformats.org/officeDocument/2006/relationships/slideLayout" Target="../slideLayouts/slideLayout271.xml"/><Relationship Id="rId73" Type="http://schemas.openxmlformats.org/officeDocument/2006/relationships/image" Target="../media/image1.emf"/><Relationship Id="rId4" Type="http://schemas.openxmlformats.org/officeDocument/2006/relationships/slideLayout" Target="../slideLayouts/slideLayout210.xml"/><Relationship Id="rId9" Type="http://schemas.openxmlformats.org/officeDocument/2006/relationships/slideLayout" Target="../slideLayouts/slideLayout215.xml"/><Relationship Id="rId14" Type="http://schemas.openxmlformats.org/officeDocument/2006/relationships/slideLayout" Target="../slideLayouts/slideLayout220.xml"/><Relationship Id="rId22" Type="http://schemas.openxmlformats.org/officeDocument/2006/relationships/slideLayout" Target="../slideLayouts/slideLayout228.xml"/><Relationship Id="rId27" Type="http://schemas.openxmlformats.org/officeDocument/2006/relationships/slideLayout" Target="../slideLayouts/slideLayout233.xml"/><Relationship Id="rId30" Type="http://schemas.openxmlformats.org/officeDocument/2006/relationships/slideLayout" Target="../slideLayouts/slideLayout236.xml"/><Relationship Id="rId35" Type="http://schemas.openxmlformats.org/officeDocument/2006/relationships/slideLayout" Target="../slideLayouts/slideLayout241.xml"/><Relationship Id="rId43" Type="http://schemas.openxmlformats.org/officeDocument/2006/relationships/slideLayout" Target="../slideLayouts/slideLayout249.xml"/><Relationship Id="rId48" Type="http://schemas.openxmlformats.org/officeDocument/2006/relationships/slideLayout" Target="../slideLayouts/slideLayout254.xml"/><Relationship Id="rId56" Type="http://schemas.openxmlformats.org/officeDocument/2006/relationships/slideLayout" Target="../slideLayouts/slideLayout262.xml"/><Relationship Id="rId64" Type="http://schemas.openxmlformats.org/officeDocument/2006/relationships/slideLayout" Target="../slideLayouts/slideLayout270.xml"/><Relationship Id="rId69" Type="http://schemas.openxmlformats.org/officeDocument/2006/relationships/theme" Target="../theme/theme5.xml"/><Relationship Id="rId8" Type="http://schemas.openxmlformats.org/officeDocument/2006/relationships/slideLayout" Target="../slideLayouts/slideLayout214.xml"/><Relationship Id="rId51" Type="http://schemas.openxmlformats.org/officeDocument/2006/relationships/slideLayout" Target="../slideLayouts/slideLayout257.xml"/><Relationship Id="rId72" Type="http://schemas.openxmlformats.org/officeDocument/2006/relationships/oleObject" Target="../embeddings/oleObject35.bin"/><Relationship Id="rId3" Type="http://schemas.openxmlformats.org/officeDocument/2006/relationships/slideLayout" Target="../slideLayouts/slideLayout209.xml"/><Relationship Id="rId12" Type="http://schemas.openxmlformats.org/officeDocument/2006/relationships/slideLayout" Target="../slideLayouts/slideLayout218.xml"/><Relationship Id="rId17" Type="http://schemas.openxmlformats.org/officeDocument/2006/relationships/slideLayout" Target="../slideLayouts/slideLayout223.xml"/><Relationship Id="rId25" Type="http://schemas.openxmlformats.org/officeDocument/2006/relationships/slideLayout" Target="../slideLayouts/slideLayout231.xml"/><Relationship Id="rId33" Type="http://schemas.openxmlformats.org/officeDocument/2006/relationships/slideLayout" Target="../slideLayouts/slideLayout239.xml"/><Relationship Id="rId38" Type="http://schemas.openxmlformats.org/officeDocument/2006/relationships/slideLayout" Target="../slideLayouts/slideLayout244.xml"/><Relationship Id="rId46" Type="http://schemas.openxmlformats.org/officeDocument/2006/relationships/slideLayout" Target="../slideLayouts/slideLayout252.xml"/><Relationship Id="rId59" Type="http://schemas.openxmlformats.org/officeDocument/2006/relationships/slideLayout" Target="../slideLayouts/slideLayout265.xml"/><Relationship Id="rId67" Type="http://schemas.openxmlformats.org/officeDocument/2006/relationships/slideLayout" Target="../slideLayouts/slideLayout273.xml"/><Relationship Id="rId20" Type="http://schemas.openxmlformats.org/officeDocument/2006/relationships/slideLayout" Target="../slideLayouts/slideLayout226.xml"/><Relationship Id="rId41" Type="http://schemas.openxmlformats.org/officeDocument/2006/relationships/slideLayout" Target="../slideLayouts/slideLayout247.xml"/><Relationship Id="rId54" Type="http://schemas.openxmlformats.org/officeDocument/2006/relationships/slideLayout" Target="../slideLayouts/slideLayout260.xml"/><Relationship Id="rId62" Type="http://schemas.openxmlformats.org/officeDocument/2006/relationships/slideLayout" Target="../slideLayouts/slideLayout268.xml"/><Relationship Id="rId70" Type="http://schemas.openxmlformats.org/officeDocument/2006/relationships/vmlDrawing" Target="../drawings/vmlDrawing35.vml"/><Relationship Id="rId1" Type="http://schemas.openxmlformats.org/officeDocument/2006/relationships/slideLayout" Target="../slideLayouts/slideLayout207.xml"/><Relationship Id="rId6" Type="http://schemas.openxmlformats.org/officeDocument/2006/relationships/slideLayout" Target="../slideLayouts/slideLayout212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7.xml"/><Relationship Id="rId18" Type="http://schemas.openxmlformats.org/officeDocument/2006/relationships/slideLayout" Target="../slideLayouts/slideLayout292.xml"/><Relationship Id="rId26" Type="http://schemas.openxmlformats.org/officeDocument/2006/relationships/slideLayout" Target="../slideLayouts/slideLayout300.xml"/><Relationship Id="rId39" Type="http://schemas.openxmlformats.org/officeDocument/2006/relationships/slideLayout" Target="../slideLayouts/slideLayout313.xml"/><Relationship Id="rId21" Type="http://schemas.openxmlformats.org/officeDocument/2006/relationships/slideLayout" Target="../slideLayouts/slideLayout295.xml"/><Relationship Id="rId34" Type="http://schemas.openxmlformats.org/officeDocument/2006/relationships/slideLayout" Target="../slideLayouts/slideLayout308.xml"/><Relationship Id="rId42" Type="http://schemas.openxmlformats.org/officeDocument/2006/relationships/slideLayout" Target="../slideLayouts/slideLayout316.xml"/><Relationship Id="rId47" Type="http://schemas.openxmlformats.org/officeDocument/2006/relationships/slideLayout" Target="../slideLayouts/slideLayout321.xml"/><Relationship Id="rId50" Type="http://schemas.openxmlformats.org/officeDocument/2006/relationships/slideLayout" Target="../slideLayouts/slideLayout324.xml"/><Relationship Id="rId55" Type="http://schemas.openxmlformats.org/officeDocument/2006/relationships/slideLayout" Target="../slideLayouts/slideLayout329.xml"/><Relationship Id="rId63" Type="http://schemas.openxmlformats.org/officeDocument/2006/relationships/slideLayout" Target="../slideLayouts/slideLayout337.xml"/><Relationship Id="rId68" Type="http://schemas.openxmlformats.org/officeDocument/2006/relationships/slideLayout" Target="../slideLayouts/slideLayout342.xml"/><Relationship Id="rId7" Type="http://schemas.openxmlformats.org/officeDocument/2006/relationships/slideLayout" Target="../slideLayouts/slideLayout281.xml"/><Relationship Id="rId71" Type="http://schemas.openxmlformats.org/officeDocument/2006/relationships/tags" Target="../tags/tag260.xml"/><Relationship Id="rId2" Type="http://schemas.openxmlformats.org/officeDocument/2006/relationships/slideLayout" Target="../slideLayouts/slideLayout276.xml"/><Relationship Id="rId16" Type="http://schemas.openxmlformats.org/officeDocument/2006/relationships/slideLayout" Target="../slideLayouts/slideLayout290.xml"/><Relationship Id="rId29" Type="http://schemas.openxmlformats.org/officeDocument/2006/relationships/slideLayout" Target="../slideLayouts/slideLayout303.xml"/><Relationship Id="rId11" Type="http://schemas.openxmlformats.org/officeDocument/2006/relationships/slideLayout" Target="../slideLayouts/slideLayout285.xml"/><Relationship Id="rId24" Type="http://schemas.openxmlformats.org/officeDocument/2006/relationships/slideLayout" Target="../slideLayouts/slideLayout298.xml"/><Relationship Id="rId32" Type="http://schemas.openxmlformats.org/officeDocument/2006/relationships/slideLayout" Target="../slideLayouts/slideLayout306.xml"/><Relationship Id="rId37" Type="http://schemas.openxmlformats.org/officeDocument/2006/relationships/slideLayout" Target="../slideLayouts/slideLayout311.xml"/><Relationship Id="rId40" Type="http://schemas.openxmlformats.org/officeDocument/2006/relationships/slideLayout" Target="../slideLayouts/slideLayout314.xml"/><Relationship Id="rId45" Type="http://schemas.openxmlformats.org/officeDocument/2006/relationships/slideLayout" Target="../slideLayouts/slideLayout319.xml"/><Relationship Id="rId53" Type="http://schemas.openxmlformats.org/officeDocument/2006/relationships/slideLayout" Target="../slideLayouts/slideLayout327.xml"/><Relationship Id="rId58" Type="http://schemas.openxmlformats.org/officeDocument/2006/relationships/slideLayout" Target="../slideLayouts/slideLayout332.xml"/><Relationship Id="rId66" Type="http://schemas.openxmlformats.org/officeDocument/2006/relationships/slideLayout" Target="../slideLayouts/slideLayout340.xml"/><Relationship Id="rId5" Type="http://schemas.openxmlformats.org/officeDocument/2006/relationships/slideLayout" Target="../slideLayouts/slideLayout279.xml"/><Relationship Id="rId15" Type="http://schemas.openxmlformats.org/officeDocument/2006/relationships/slideLayout" Target="../slideLayouts/slideLayout289.xml"/><Relationship Id="rId23" Type="http://schemas.openxmlformats.org/officeDocument/2006/relationships/slideLayout" Target="../slideLayouts/slideLayout297.xml"/><Relationship Id="rId28" Type="http://schemas.openxmlformats.org/officeDocument/2006/relationships/slideLayout" Target="../slideLayouts/slideLayout302.xml"/><Relationship Id="rId36" Type="http://schemas.openxmlformats.org/officeDocument/2006/relationships/slideLayout" Target="../slideLayouts/slideLayout310.xml"/><Relationship Id="rId49" Type="http://schemas.openxmlformats.org/officeDocument/2006/relationships/slideLayout" Target="../slideLayouts/slideLayout323.xml"/><Relationship Id="rId57" Type="http://schemas.openxmlformats.org/officeDocument/2006/relationships/slideLayout" Target="../slideLayouts/slideLayout331.xml"/><Relationship Id="rId61" Type="http://schemas.openxmlformats.org/officeDocument/2006/relationships/slideLayout" Target="../slideLayouts/slideLayout335.xml"/><Relationship Id="rId10" Type="http://schemas.openxmlformats.org/officeDocument/2006/relationships/slideLayout" Target="../slideLayouts/slideLayout284.xml"/><Relationship Id="rId19" Type="http://schemas.openxmlformats.org/officeDocument/2006/relationships/slideLayout" Target="../slideLayouts/slideLayout293.xml"/><Relationship Id="rId31" Type="http://schemas.openxmlformats.org/officeDocument/2006/relationships/slideLayout" Target="../slideLayouts/slideLayout305.xml"/><Relationship Id="rId44" Type="http://schemas.openxmlformats.org/officeDocument/2006/relationships/slideLayout" Target="../slideLayouts/slideLayout318.xml"/><Relationship Id="rId52" Type="http://schemas.openxmlformats.org/officeDocument/2006/relationships/slideLayout" Target="../slideLayouts/slideLayout326.xml"/><Relationship Id="rId60" Type="http://schemas.openxmlformats.org/officeDocument/2006/relationships/slideLayout" Target="../slideLayouts/slideLayout334.xml"/><Relationship Id="rId65" Type="http://schemas.openxmlformats.org/officeDocument/2006/relationships/slideLayout" Target="../slideLayouts/slideLayout339.xml"/><Relationship Id="rId73" Type="http://schemas.openxmlformats.org/officeDocument/2006/relationships/image" Target="../media/image1.emf"/><Relationship Id="rId4" Type="http://schemas.openxmlformats.org/officeDocument/2006/relationships/slideLayout" Target="../slideLayouts/slideLayout278.xml"/><Relationship Id="rId9" Type="http://schemas.openxmlformats.org/officeDocument/2006/relationships/slideLayout" Target="../slideLayouts/slideLayout283.xml"/><Relationship Id="rId14" Type="http://schemas.openxmlformats.org/officeDocument/2006/relationships/slideLayout" Target="../slideLayouts/slideLayout288.xml"/><Relationship Id="rId22" Type="http://schemas.openxmlformats.org/officeDocument/2006/relationships/slideLayout" Target="../slideLayouts/slideLayout296.xml"/><Relationship Id="rId27" Type="http://schemas.openxmlformats.org/officeDocument/2006/relationships/slideLayout" Target="../slideLayouts/slideLayout301.xml"/><Relationship Id="rId30" Type="http://schemas.openxmlformats.org/officeDocument/2006/relationships/slideLayout" Target="../slideLayouts/slideLayout304.xml"/><Relationship Id="rId35" Type="http://schemas.openxmlformats.org/officeDocument/2006/relationships/slideLayout" Target="../slideLayouts/slideLayout309.xml"/><Relationship Id="rId43" Type="http://schemas.openxmlformats.org/officeDocument/2006/relationships/slideLayout" Target="../slideLayouts/slideLayout317.xml"/><Relationship Id="rId48" Type="http://schemas.openxmlformats.org/officeDocument/2006/relationships/slideLayout" Target="../slideLayouts/slideLayout322.xml"/><Relationship Id="rId56" Type="http://schemas.openxmlformats.org/officeDocument/2006/relationships/slideLayout" Target="../slideLayouts/slideLayout330.xml"/><Relationship Id="rId64" Type="http://schemas.openxmlformats.org/officeDocument/2006/relationships/slideLayout" Target="../slideLayouts/slideLayout338.xml"/><Relationship Id="rId69" Type="http://schemas.openxmlformats.org/officeDocument/2006/relationships/theme" Target="../theme/theme6.xml"/><Relationship Id="rId8" Type="http://schemas.openxmlformats.org/officeDocument/2006/relationships/slideLayout" Target="../slideLayouts/slideLayout282.xml"/><Relationship Id="rId51" Type="http://schemas.openxmlformats.org/officeDocument/2006/relationships/slideLayout" Target="../slideLayouts/slideLayout325.xml"/><Relationship Id="rId72" Type="http://schemas.openxmlformats.org/officeDocument/2006/relationships/oleObject" Target="../embeddings/oleObject45.bin"/><Relationship Id="rId3" Type="http://schemas.openxmlformats.org/officeDocument/2006/relationships/slideLayout" Target="../slideLayouts/slideLayout277.xml"/><Relationship Id="rId12" Type="http://schemas.openxmlformats.org/officeDocument/2006/relationships/slideLayout" Target="../slideLayouts/slideLayout286.xml"/><Relationship Id="rId17" Type="http://schemas.openxmlformats.org/officeDocument/2006/relationships/slideLayout" Target="../slideLayouts/slideLayout291.xml"/><Relationship Id="rId25" Type="http://schemas.openxmlformats.org/officeDocument/2006/relationships/slideLayout" Target="../slideLayouts/slideLayout299.xml"/><Relationship Id="rId33" Type="http://schemas.openxmlformats.org/officeDocument/2006/relationships/slideLayout" Target="../slideLayouts/slideLayout307.xml"/><Relationship Id="rId38" Type="http://schemas.openxmlformats.org/officeDocument/2006/relationships/slideLayout" Target="../slideLayouts/slideLayout312.xml"/><Relationship Id="rId46" Type="http://schemas.openxmlformats.org/officeDocument/2006/relationships/slideLayout" Target="../slideLayouts/slideLayout320.xml"/><Relationship Id="rId59" Type="http://schemas.openxmlformats.org/officeDocument/2006/relationships/slideLayout" Target="../slideLayouts/slideLayout333.xml"/><Relationship Id="rId67" Type="http://schemas.openxmlformats.org/officeDocument/2006/relationships/slideLayout" Target="../slideLayouts/slideLayout341.xml"/><Relationship Id="rId20" Type="http://schemas.openxmlformats.org/officeDocument/2006/relationships/slideLayout" Target="../slideLayouts/slideLayout294.xml"/><Relationship Id="rId41" Type="http://schemas.openxmlformats.org/officeDocument/2006/relationships/slideLayout" Target="../slideLayouts/slideLayout315.xml"/><Relationship Id="rId54" Type="http://schemas.openxmlformats.org/officeDocument/2006/relationships/slideLayout" Target="../slideLayouts/slideLayout328.xml"/><Relationship Id="rId62" Type="http://schemas.openxmlformats.org/officeDocument/2006/relationships/slideLayout" Target="../slideLayouts/slideLayout336.xml"/><Relationship Id="rId70" Type="http://schemas.openxmlformats.org/officeDocument/2006/relationships/vmlDrawing" Target="../drawings/vmlDrawing45.vml"/><Relationship Id="rId1" Type="http://schemas.openxmlformats.org/officeDocument/2006/relationships/slideLayout" Target="../slideLayouts/slideLayout275.xml"/><Relationship Id="rId6" Type="http://schemas.openxmlformats.org/officeDocument/2006/relationships/slideLayout" Target="../slideLayouts/slideLayout28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323.xml"/><Relationship Id="rId13" Type="http://schemas.openxmlformats.org/officeDocument/2006/relationships/image" Target="../media/image11.jpeg"/><Relationship Id="rId3" Type="http://schemas.openxmlformats.org/officeDocument/2006/relationships/slideLayout" Target="../slideLayouts/slideLayout345.xml"/><Relationship Id="rId7" Type="http://schemas.openxmlformats.org/officeDocument/2006/relationships/vmlDrawing" Target="../drawings/vmlDrawing55.vml"/><Relationship Id="rId12" Type="http://schemas.openxmlformats.org/officeDocument/2006/relationships/image" Target="../media/image8.emf"/><Relationship Id="rId2" Type="http://schemas.openxmlformats.org/officeDocument/2006/relationships/slideLayout" Target="../slideLayouts/slideLayout344.xml"/><Relationship Id="rId1" Type="http://schemas.openxmlformats.org/officeDocument/2006/relationships/slideLayout" Target="../slideLayouts/slideLayout343.xml"/><Relationship Id="rId6" Type="http://schemas.openxmlformats.org/officeDocument/2006/relationships/theme" Target="../theme/theme7.xml"/><Relationship Id="rId11" Type="http://schemas.openxmlformats.org/officeDocument/2006/relationships/oleObject" Target="../embeddings/oleObject55.bin"/><Relationship Id="rId5" Type="http://schemas.openxmlformats.org/officeDocument/2006/relationships/slideLayout" Target="../slideLayouts/slideLayout347.xml"/><Relationship Id="rId10" Type="http://schemas.openxmlformats.org/officeDocument/2006/relationships/tags" Target="../tags/tag325.xml"/><Relationship Id="rId4" Type="http://schemas.openxmlformats.org/officeDocument/2006/relationships/slideLayout" Target="../slideLayouts/slideLayout346.xml"/><Relationship Id="rId9" Type="http://schemas.openxmlformats.org/officeDocument/2006/relationships/tags" Target="../tags/tag32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9.vml"/><Relationship Id="rId13" Type="http://schemas.openxmlformats.org/officeDocument/2006/relationships/image" Target="../media/image8.emf"/><Relationship Id="rId3" Type="http://schemas.openxmlformats.org/officeDocument/2006/relationships/slideLayout" Target="../slideLayouts/slideLayout350.xml"/><Relationship Id="rId7" Type="http://schemas.openxmlformats.org/officeDocument/2006/relationships/theme" Target="../theme/theme8.xml"/><Relationship Id="rId12" Type="http://schemas.openxmlformats.org/officeDocument/2006/relationships/oleObject" Target="../embeddings/oleObject59.bin"/><Relationship Id="rId2" Type="http://schemas.openxmlformats.org/officeDocument/2006/relationships/slideLayout" Target="../slideLayouts/slideLayout349.xml"/><Relationship Id="rId1" Type="http://schemas.openxmlformats.org/officeDocument/2006/relationships/slideLayout" Target="../slideLayouts/slideLayout348.xml"/><Relationship Id="rId6" Type="http://schemas.openxmlformats.org/officeDocument/2006/relationships/slideLayout" Target="../slideLayouts/slideLayout353.xml"/><Relationship Id="rId11" Type="http://schemas.openxmlformats.org/officeDocument/2006/relationships/tags" Target="../tags/tag331.xml"/><Relationship Id="rId5" Type="http://schemas.openxmlformats.org/officeDocument/2006/relationships/slideLayout" Target="../slideLayouts/slideLayout352.xml"/><Relationship Id="rId10" Type="http://schemas.openxmlformats.org/officeDocument/2006/relationships/tags" Target="../tags/tag330.xml"/><Relationship Id="rId4" Type="http://schemas.openxmlformats.org/officeDocument/2006/relationships/slideLayout" Target="../slideLayouts/slideLayout351.xml"/><Relationship Id="rId9" Type="http://schemas.openxmlformats.org/officeDocument/2006/relationships/tags" Target="../tags/tag329.xml"/><Relationship Id="rId14" Type="http://schemas.openxmlformats.org/officeDocument/2006/relationships/image" Target="../media/image13.jpeg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66.xml"/><Relationship Id="rId18" Type="http://schemas.openxmlformats.org/officeDocument/2006/relationships/slideLayout" Target="../slideLayouts/slideLayout371.xml"/><Relationship Id="rId26" Type="http://schemas.openxmlformats.org/officeDocument/2006/relationships/slideLayout" Target="../slideLayouts/slideLayout379.xml"/><Relationship Id="rId39" Type="http://schemas.openxmlformats.org/officeDocument/2006/relationships/slideLayout" Target="../slideLayouts/slideLayout392.xml"/><Relationship Id="rId21" Type="http://schemas.openxmlformats.org/officeDocument/2006/relationships/slideLayout" Target="../slideLayouts/slideLayout374.xml"/><Relationship Id="rId34" Type="http://schemas.openxmlformats.org/officeDocument/2006/relationships/slideLayout" Target="../slideLayouts/slideLayout387.xml"/><Relationship Id="rId42" Type="http://schemas.openxmlformats.org/officeDocument/2006/relationships/slideLayout" Target="../slideLayouts/slideLayout395.xml"/><Relationship Id="rId47" Type="http://schemas.openxmlformats.org/officeDocument/2006/relationships/slideLayout" Target="../slideLayouts/slideLayout400.xml"/><Relationship Id="rId50" Type="http://schemas.openxmlformats.org/officeDocument/2006/relationships/slideLayout" Target="../slideLayouts/slideLayout403.xml"/><Relationship Id="rId55" Type="http://schemas.openxmlformats.org/officeDocument/2006/relationships/slideLayout" Target="../slideLayouts/slideLayout408.xml"/><Relationship Id="rId63" Type="http://schemas.openxmlformats.org/officeDocument/2006/relationships/slideLayout" Target="../slideLayouts/slideLayout416.xml"/><Relationship Id="rId68" Type="http://schemas.openxmlformats.org/officeDocument/2006/relationships/tags" Target="../tags/tag335.xml"/><Relationship Id="rId7" Type="http://schemas.openxmlformats.org/officeDocument/2006/relationships/slideLayout" Target="../slideLayouts/slideLayout360.xml"/><Relationship Id="rId2" Type="http://schemas.openxmlformats.org/officeDocument/2006/relationships/slideLayout" Target="../slideLayouts/slideLayout355.xml"/><Relationship Id="rId16" Type="http://schemas.openxmlformats.org/officeDocument/2006/relationships/slideLayout" Target="../slideLayouts/slideLayout369.xml"/><Relationship Id="rId29" Type="http://schemas.openxmlformats.org/officeDocument/2006/relationships/slideLayout" Target="../slideLayouts/slideLayout382.xml"/><Relationship Id="rId1" Type="http://schemas.openxmlformats.org/officeDocument/2006/relationships/slideLayout" Target="../slideLayouts/slideLayout354.xml"/><Relationship Id="rId6" Type="http://schemas.openxmlformats.org/officeDocument/2006/relationships/slideLayout" Target="../slideLayouts/slideLayout359.xml"/><Relationship Id="rId11" Type="http://schemas.openxmlformats.org/officeDocument/2006/relationships/slideLayout" Target="../slideLayouts/slideLayout364.xml"/><Relationship Id="rId24" Type="http://schemas.openxmlformats.org/officeDocument/2006/relationships/slideLayout" Target="../slideLayouts/slideLayout377.xml"/><Relationship Id="rId32" Type="http://schemas.openxmlformats.org/officeDocument/2006/relationships/slideLayout" Target="../slideLayouts/slideLayout385.xml"/><Relationship Id="rId37" Type="http://schemas.openxmlformats.org/officeDocument/2006/relationships/slideLayout" Target="../slideLayouts/slideLayout390.xml"/><Relationship Id="rId40" Type="http://schemas.openxmlformats.org/officeDocument/2006/relationships/slideLayout" Target="../slideLayouts/slideLayout393.xml"/><Relationship Id="rId45" Type="http://schemas.openxmlformats.org/officeDocument/2006/relationships/slideLayout" Target="../slideLayouts/slideLayout398.xml"/><Relationship Id="rId53" Type="http://schemas.openxmlformats.org/officeDocument/2006/relationships/slideLayout" Target="../slideLayouts/slideLayout406.xml"/><Relationship Id="rId58" Type="http://schemas.openxmlformats.org/officeDocument/2006/relationships/slideLayout" Target="../slideLayouts/slideLayout411.xml"/><Relationship Id="rId66" Type="http://schemas.openxmlformats.org/officeDocument/2006/relationships/theme" Target="../theme/theme9.xml"/><Relationship Id="rId5" Type="http://schemas.openxmlformats.org/officeDocument/2006/relationships/slideLayout" Target="../slideLayouts/slideLayout358.xml"/><Relationship Id="rId15" Type="http://schemas.openxmlformats.org/officeDocument/2006/relationships/slideLayout" Target="../slideLayouts/slideLayout368.xml"/><Relationship Id="rId23" Type="http://schemas.openxmlformats.org/officeDocument/2006/relationships/slideLayout" Target="../slideLayouts/slideLayout376.xml"/><Relationship Id="rId28" Type="http://schemas.openxmlformats.org/officeDocument/2006/relationships/slideLayout" Target="../slideLayouts/slideLayout381.xml"/><Relationship Id="rId36" Type="http://schemas.openxmlformats.org/officeDocument/2006/relationships/slideLayout" Target="../slideLayouts/slideLayout389.xml"/><Relationship Id="rId49" Type="http://schemas.openxmlformats.org/officeDocument/2006/relationships/slideLayout" Target="../slideLayouts/slideLayout402.xml"/><Relationship Id="rId57" Type="http://schemas.openxmlformats.org/officeDocument/2006/relationships/slideLayout" Target="../slideLayouts/slideLayout410.xml"/><Relationship Id="rId61" Type="http://schemas.openxmlformats.org/officeDocument/2006/relationships/slideLayout" Target="../slideLayouts/slideLayout414.xml"/><Relationship Id="rId10" Type="http://schemas.openxmlformats.org/officeDocument/2006/relationships/slideLayout" Target="../slideLayouts/slideLayout363.xml"/><Relationship Id="rId19" Type="http://schemas.openxmlformats.org/officeDocument/2006/relationships/slideLayout" Target="../slideLayouts/slideLayout372.xml"/><Relationship Id="rId31" Type="http://schemas.openxmlformats.org/officeDocument/2006/relationships/slideLayout" Target="../slideLayouts/slideLayout384.xml"/><Relationship Id="rId44" Type="http://schemas.openxmlformats.org/officeDocument/2006/relationships/slideLayout" Target="../slideLayouts/slideLayout397.xml"/><Relationship Id="rId52" Type="http://schemas.openxmlformats.org/officeDocument/2006/relationships/slideLayout" Target="../slideLayouts/slideLayout405.xml"/><Relationship Id="rId60" Type="http://schemas.openxmlformats.org/officeDocument/2006/relationships/slideLayout" Target="../slideLayouts/slideLayout413.xml"/><Relationship Id="rId65" Type="http://schemas.openxmlformats.org/officeDocument/2006/relationships/slideLayout" Target="../slideLayouts/slideLayout418.xml"/><Relationship Id="rId4" Type="http://schemas.openxmlformats.org/officeDocument/2006/relationships/slideLayout" Target="../slideLayouts/slideLayout357.xml"/><Relationship Id="rId9" Type="http://schemas.openxmlformats.org/officeDocument/2006/relationships/slideLayout" Target="../slideLayouts/slideLayout362.xml"/><Relationship Id="rId14" Type="http://schemas.openxmlformats.org/officeDocument/2006/relationships/slideLayout" Target="../slideLayouts/slideLayout367.xml"/><Relationship Id="rId22" Type="http://schemas.openxmlformats.org/officeDocument/2006/relationships/slideLayout" Target="../slideLayouts/slideLayout375.xml"/><Relationship Id="rId27" Type="http://schemas.openxmlformats.org/officeDocument/2006/relationships/slideLayout" Target="../slideLayouts/slideLayout380.xml"/><Relationship Id="rId30" Type="http://schemas.openxmlformats.org/officeDocument/2006/relationships/slideLayout" Target="../slideLayouts/slideLayout383.xml"/><Relationship Id="rId35" Type="http://schemas.openxmlformats.org/officeDocument/2006/relationships/slideLayout" Target="../slideLayouts/slideLayout388.xml"/><Relationship Id="rId43" Type="http://schemas.openxmlformats.org/officeDocument/2006/relationships/slideLayout" Target="../slideLayouts/slideLayout396.xml"/><Relationship Id="rId48" Type="http://schemas.openxmlformats.org/officeDocument/2006/relationships/slideLayout" Target="../slideLayouts/slideLayout401.xml"/><Relationship Id="rId56" Type="http://schemas.openxmlformats.org/officeDocument/2006/relationships/slideLayout" Target="../slideLayouts/slideLayout409.xml"/><Relationship Id="rId64" Type="http://schemas.openxmlformats.org/officeDocument/2006/relationships/slideLayout" Target="../slideLayouts/slideLayout417.xml"/><Relationship Id="rId69" Type="http://schemas.openxmlformats.org/officeDocument/2006/relationships/oleObject" Target="../embeddings/oleObject63.bin"/><Relationship Id="rId8" Type="http://schemas.openxmlformats.org/officeDocument/2006/relationships/slideLayout" Target="../slideLayouts/slideLayout361.xml"/><Relationship Id="rId51" Type="http://schemas.openxmlformats.org/officeDocument/2006/relationships/slideLayout" Target="../slideLayouts/slideLayout404.xml"/><Relationship Id="rId3" Type="http://schemas.openxmlformats.org/officeDocument/2006/relationships/slideLayout" Target="../slideLayouts/slideLayout356.xml"/><Relationship Id="rId12" Type="http://schemas.openxmlformats.org/officeDocument/2006/relationships/slideLayout" Target="../slideLayouts/slideLayout365.xml"/><Relationship Id="rId17" Type="http://schemas.openxmlformats.org/officeDocument/2006/relationships/slideLayout" Target="../slideLayouts/slideLayout370.xml"/><Relationship Id="rId25" Type="http://schemas.openxmlformats.org/officeDocument/2006/relationships/slideLayout" Target="../slideLayouts/slideLayout378.xml"/><Relationship Id="rId33" Type="http://schemas.openxmlformats.org/officeDocument/2006/relationships/slideLayout" Target="../slideLayouts/slideLayout386.xml"/><Relationship Id="rId38" Type="http://schemas.openxmlformats.org/officeDocument/2006/relationships/slideLayout" Target="../slideLayouts/slideLayout391.xml"/><Relationship Id="rId46" Type="http://schemas.openxmlformats.org/officeDocument/2006/relationships/slideLayout" Target="../slideLayouts/slideLayout399.xml"/><Relationship Id="rId59" Type="http://schemas.openxmlformats.org/officeDocument/2006/relationships/slideLayout" Target="../slideLayouts/slideLayout412.xml"/><Relationship Id="rId67" Type="http://schemas.openxmlformats.org/officeDocument/2006/relationships/vmlDrawing" Target="../drawings/vmlDrawing63.vml"/><Relationship Id="rId20" Type="http://schemas.openxmlformats.org/officeDocument/2006/relationships/slideLayout" Target="../slideLayouts/slideLayout373.xml"/><Relationship Id="rId41" Type="http://schemas.openxmlformats.org/officeDocument/2006/relationships/slideLayout" Target="../slideLayouts/slideLayout394.xml"/><Relationship Id="rId54" Type="http://schemas.openxmlformats.org/officeDocument/2006/relationships/slideLayout" Target="../slideLayouts/slideLayout407.xml"/><Relationship Id="rId62" Type="http://schemas.openxmlformats.org/officeDocument/2006/relationships/slideLayout" Target="../slideLayouts/slideLayout415.xml"/><Relationship Id="rId7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3776747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9"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086" r:id="rId2"/>
    <p:sldLayoutId id="2147485158" r:id="rId3"/>
    <p:sldLayoutId id="2147485113" r:id="rId4"/>
    <p:sldLayoutId id="2147485114" r:id="rId5"/>
    <p:sldLayoutId id="2147485154" r:id="rId6"/>
    <p:sldLayoutId id="2147485162" r:id="rId7"/>
    <p:sldLayoutId id="2147485149" r:id="rId8"/>
    <p:sldLayoutId id="2147485087" r:id="rId9"/>
    <p:sldLayoutId id="2147485112" r:id="rId10"/>
    <p:sldLayoutId id="2147485155" r:id="rId11"/>
    <p:sldLayoutId id="2147485164" r:id="rId12"/>
    <p:sldLayoutId id="2147485109" r:id="rId13"/>
    <p:sldLayoutId id="2147485165" r:id="rId14"/>
    <p:sldLayoutId id="2147485110" r:id="rId15"/>
    <p:sldLayoutId id="2147485166" r:id="rId16"/>
    <p:sldLayoutId id="2147485156" r:id="rId17"/>
    <p:sldLayoutId id="2147485167" r:id="rId18"/>
    <p:sldLayoutId id="2147485108" r:id="rId19"/>
    <p:sldLayoutId id="2147485107" r:id="rId20"/>
    <p:sldLayoutId id="2147485106" r:id="rId21"/>
    <p:sldLayoutId id="2147485090" r:id="rId22"/>
    <p:sldLayoutId id="2147485091" r:id="rId23"/>
    <p:sldLayoutId id="2147485092" r:id="rId24"/>
    <p:sldLayoutId id="2147485093" r:id="rId25"/>
    <p:sldLayoutId id="2147485116" r:id="rId26"/>
    <p:sldLayoutId id="2147485161" r:id="rId27"/>
    <p:sldLayoutId id="2147485159" r:id="rId28"/>
    <p:sldLayoutId id="2147485119" r:id="rId29"/>
    <p:sldLayoutId id="2147485137" r:id="rId30"/>
    <p:sldLayoutId id="2147485120" r:id="rId31"/>
    <p:sldLayoutId id="2147485121" r:id="rId32"/>
    <p:sldLayoutId id="2147485141" r:id="rId33"/>
    <p:sldLayoutId id="2147485163" r:id="rId34"/>
    <p:sldLayoutId id="2147485139" r:id="rId35"/>
    <p:sldLayoutId id="2147485140" r:id="rId36"/>
    <p:sldLayoutId id="2147485122" r:id="rId37"/>
    <p:sldLayoutId id="2147485123" r:id="rId38"/>
    <p:sldLayoutId id="2147485151" r:id="rId39"/>
    <p:sldLayoutId id="2147485168" r:id="rId40"/>
    <p:sldLayoutId id="2147485127" r:id="rId41"/>
    <p:sldLayoutId id="2147485169" r:id="rId42"/>
    <p:sldLayoutId id="2147485126" r:id="rId43"/>
    <p:sldLayoutId id="2147485170" r:id="rId44"/>
    <p:sldLayoutId id="2147485153" r:id="rId45"/>
    <p:sldLayoutId id="2147485171" r:id="rId46"/>
    <p:sldLayoutId id="2147485128" r:id="rId47"/>
    <p:sldLayoutId id="2147485129" r:id="rId48"/>
    <p:sldLayoutId id="2147485130" r:id="rId49"/>
    <p:sldLayoutId id="2147485131" r:id="rId50"/>
    <p:sldLayoutId id="2147485145" r:id="rId51"/>
    <p:sldLayoutId id="2147485133" r:id="rId52"/>
    <p:sldLayoutId id="2147485144" r:id="rId53"/>
    <p:sldLayoutId id="2147485134" r:id="rId54"/>
    <p:sldLayoutId id="2147485146" r:id="rId55"/>
    <p:sldLayoutId id="2147485160" r:id="rId56"/>
    <p:sldLayoutId id="2147485172" r:id="rId57"/>
    <p:sldLayoutId id="2147485173" r:id="rId58"/>
    <p:sldLayoutId id="2147485174" r:id="rId59"/>
    <p:sldLayoutId id="2147485175" r:id="rId60"/>
    <p:sldLayoutId id="2147485176" r:id="rId61"/>
    <p:sldLayoutId id="2147485177" r:id="rId62"/>
    <p:sldLayoutId id="2147485178" r:id="rId63"/>
    <p:sldLayoutId id="2147485179" r:id="rId64"/>
    <p:sldLayoutId id="2147485180" r:id="rId65"/>
    <p:sldLayoutId id="2147485183" r:id="rId6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623"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644409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47" r:id="rId1"/>
    <p:sldLayoutId id="2147485548" r:id="rId2"/>
    <p:sldLayoutId id="2147485549" r:id="rId3"/>
    <p:sldLayoutId id="2147485550" r:id="rId4"/>
    <p:sldLayoutId id="2147485551" r:id="rId5"/>
    <p:sldLayoutId id="2147485552" r:id="rId6"/>
    <p:sldLayoutId id="2147485553" r:id="rId7"/>
    <p:sldLayoutId id="2147485554" r:id="rId8"/>
    <p:sldLayoutId id="2147485555" r:id="rId9"/>
    <p:sldLayoutId id="2147485556" r:id="rId10"/>
    <p:sldLayoutId id="2147485557" r:id="rId11"/>
    <p:sldLayoutId id="2147485558" r:id="rId12"/>
    <p:sldLayoutId id="2147485559" r:id="rId13"/>
    <p:sldLayoutId id="2147485560" r:id="rId14"/>
    <p:sldLayoutId id="2147485561" r:id="rId15"/>
    <p:sldLayoutId id="2147485562" r:id="rId16"/>
    <p:sldLayoutId id="2147485563" r:id="rId17"/>
    <p:sldLayoutId id="2147485564" r:id="rId18"/>
    <p:sldLayoutId id="2147485565" r:id="rId19"/>
    <p:sldLayoutId id="2147485566" r:id="rId20"/>
    <p:sldLayoutId id="2147485567" r:id="rId21"/>
    <p:sldLayoutId id="2147485568" r:id="rId22"/>
    <p:sldLayoutId id="2147485569" r:id="rId23"/>
    <p:sldLayoutId id="2147485570" r:id="rId24"/>
    <p:sldLayoutId id="2147485571" r:id="rId25"/>
    <p:sldLayoutId id="2147485572" r:id="rId26"/>
    <p:sldLayoutId id="2147485573" r:id="rId27"/>
    <p:sldLayoutId id="2147485574" r:id="rId28"/>
    <p:sldLayoutId id="2147485575" r:id="rId29"/>
    <p:sldLayoutId id="2147485576" r:id="rId30"/>
    <p:sldLayoutId id="2147485577" r:id="rId31"/>
    <p:sldLayoutId id="2147485578" r:id="rId32"/>
    <p:sldLayoutId id="2147485579" r:id="rId33"/>
    <p:sldLayoutId id="2147485580" r:id="rId34"/>
    <p:sldLayoutId id="2147485581" r:id="rId35"/>
    <p:sldLayoutId id="2147485582" r:id="rId36"/>
    <p:sldLayoutId id="2147485583" r:id="rId37"/>
    <p:sldLayoutId id="2147485584" r:id="rId38"/>
    <p:sldLayoutId id="2147485585" r:id="rId39"/>
    <p:sldLayoutId id="2147485586" r:id="rId40"/>
    <p:sldLayoutId id="2147485587" r:id="rId41"/>
    <p:sldLayoutId id="2147485588" r:id="rId42"/>
    <p:sldLayoutId id="2147485589" r:id="rId43"/>
    <p:sldLayoutId id="2147485590" r:id="rId44"/>
    <p:sldLayoutId id="2147485591" r:id="rId45"/>
    <p:sldLayoutId id="2147485592" r:id="rId46"/>
    <p:sldLayoutId id="2147485593" r:id="rId47"/>
    <p:sldLayoutId id="2147485594" r:id="rId48"/>
    <p:sldLayoutId id="2147485595" r:id="rId49"/>
    <p:sldLayoutId id="2147485596" r:id="rId50"/>
    <p:sldLayoutId id="2147485597" r:id="rId51"/>
    <p:sldLayoutId id="2147485598" r:id="rId52"/>
    <p:sldLayoutId id="2147485599" r:id="rId53"/>
    <p:sldLayoutId id="2147485600" r:id="rId54"/>
    <p:sldLayoutId id="2147485601" r:id="rId55"/>
    <p:sldLayoutId id="2147485602" r:id="rId56"/>
    <p:sldLayoutId id="2147485603" r:id="rId57"/>
    <p:sldLayoutId id="2147485604" r:id="rId58"/>
    <p:sldLayoutId id="2147485605" r:id="rId59"/>
    <p:sldLayoutId id="2147485606" r:id="rId60"/>
    <p:sldLayoutId id="2147485607" r:id="rId61"/>
    <p:sldLayoutId id="2147485608" r:id="rId62"/>
    <p:sldLayoutId id="2147485609" r:id="rId63"/>
    <p:sldLayoutId id="2147485610" r:id="rId64"/>
    <p:sldLayoutId id="2147485611" r:id="rId65"/>
    <p:sldLayoutId id="2147485612" r:id="rId66"/>
    <p:sldLayoutId id="2147485613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2015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904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5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0475" y="162000"/>
            <a:ext cx="11033604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0475" y="1508400"/>
            <a:ext cx="11033604" cy="461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Simple"/>
          <p:cNvSpPr/>
          <p:nvPr>
            <p:custDataLst>
              <p:tags r:id="rId9"/>
            </p:custDataLst>
          </p:nvPr>
        </p:nvSpPr>
        <p:spPr>
          <a:xfrm>
            <a:off x="580476" y="6699600"/>
            <a:ext cx="818150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r>
              <a:rPr lang="it-IT" sz="700" smtClean="0">
                <a:solidFill>
                  <a:srgbClr val="808080"/>
                </a:solidFill>
              </a:rPr>
              <a:t>SCALE AI presentation.pptx</a:t>
            </a:r>
            <a:endParaRPr lang="en-US" sz="700" dirty="0">
              <a:solidFill>
                <a:srgbClr val="80808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352528" y="6675838"/>
            <a:ext cx="266122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8FDC6993-5875-43F1-AB5B-56FAFD3221C9}" type="slidenum">
              <a:rPr lang="en-US" sz="9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sz="900" dirty="0">
              <a:solidFill>
                <a:srgbClr val="000000"/>
              </a:solidFill>
            </a:endParaRPr>
          </a:p>
          <a:p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5" name="Warsaw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 rot="-5400000">
            <a:off x="9725883" y="4229753"/>
            <a:ext cx="4559300" cy="25198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anchor="b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CA" sz="700" dirty="0">
                <a:solidFill>
                  <a:srgbClr val="808080"/>
                </a:solidFill>
                <a:cs typeface="Arial" pitchFamily="34" charset="0"/>
              </a:rPr>
              <a:t>All rights reserved.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2" t="6963" r="9262" b="6448"/>
          <a:stretch/>
        </p:blipFill>
        <p:spPr>
          <a:xfrm>
            <a:off x="10850827" y="108222"/>
            <a:ext cx="1195479" cy="575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7324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24" r:id="rId1"/>
    <p:sldLayoutId id="2147485725" r:id="rId2"/>
    <p:sldLayoutId id="2147485726" r:id="rId3"/>
    <p:sldLayoutId id="2147485727" r:id="rId4"/>
    <p:sldLayoutId id="2147485728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4D4D4D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5200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9200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22"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572379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30" r:id="rId1"/>
    <p:sldLayoutId id="2147485731" r:id="rId2"/>
    <p:sldLayoutId id="2147485732" r:id="rId3"/>
    <p:sldLayoutId id="2147485733" r:id="rId4"/>
    <p:sldLayoutId id="2147485734" r:id="rId5"/>
    <p:sldLayoutId id="2147485735" r:id="rId6"/>
    <p:sldLayoutId id="2147485736" r:id="rId7"/>
    <p:sldLayoutId id="2147485737" r:id="rId8"/>
    <p:sldLayoutId id="2147485738" r:id="rId9"/>
    <p:sldLayoutId id="2147485739" r:id="rId10"/>
    <p:sldLayoutId id="2147485740" r:id="rId11"/>
    <p:sldLayoutId id="2147485741" r:id="rId12"/>
    <p:sldLayoutId id="2147485742" r:id="rId13"/>
    <p:sldLayoutId id="2147485743" r:id="rId14"/>
    <p:sldLayoutId id="2147485744" r:id="rId15"/>
    <p:sldLayoutId id="2147485745" r:id="rId16"/>
    <p:sldLayoutId id="2147485746" r:id="rId17"/>
    <p:sldLayoutId id="2147485747" r:id="rId18"/>
    <p:sldLayoutId id="2147485748" r:id="rId19"/>
    <p:sldLayoutId id="2147485749" r:id="rId20"/>
    <p:sldLayoutId id="2147485750" r:id="rId21"/>
    <p:sldLayoutId id="2147485751" r:id="rId22"/>
    <p:sldLayoutId id="2147485752" r:id="rId23"/>
    <p:sldLayoutId id="2147485753" r:id="rId24"/>
    <p:sldLayoutId id="2147485754" r:id="rId25"/>
    <p:sldLayoutId id="2147485755" r:id="rId26"/>
    <p:sldLayoutId id="2147485756" r:id="rId27"/>
    <p:sldLayoutId id="2147485757" r:id="rId28"/>
    <p:sldLayoutId id="2147485758" r:id="rId29"/>
    <p:sldLayoutId id="2147485759" r:id="rId30"/>
    <p:sldLayoutId id="2147485760" r:id="rId31"/>
    <p:sldLayoutId id="2147485761" r:id="rId32"/>
    <p:sldLayoutId id="2147485762" r:id="rId33"/>
    <p:sldLayoutId id="2147485763" r:id="rId34"/>
    <p:sldLayoutId id="2147485764" r:id="rId35"/>
    <p:sldLayoutId id="2147485765" r:id="rId36"/>
    <p:sldLayoutId id="2147485766" r:id="rId37"/>
    <p:sldLayoutId id="2147485767" r:id="rId38"/>
    <p:sldLayoutId id="2147485768" r:id="rId39"/>
    <p:sldLayoutId id="2147485769" r:id="rId40"/>
    <p:sldLayoutId id="2147485770" r:id="rId41"/>
    <p:sldLayoutId id="2147485771" r:id="rId42"/>
    <p:sldLayoutId id="2147485772" r:id="rId43"/>
    <p:sldLayoutId id="2147485773" r:id="rId44"/>
    <p:sldLayoutId id="2147485774" r:id="rId45"/>
    <p:sldLayoutId id="2147485775" r:id="rId46"/>
    <p:sldLayoutId id="2147485776" r:id="rId47"/>
    <p:sldLayoutId id="2147485777" r:id="rId48"/>
    <p:sldLayoutId id="2147485778" r:id="rId49"/>
    <p:sldLayoutId id="2147485779" r:id="rId50"/>
    <p:sldLayoutId id="2147485780" r:id="rId51"/>
    <p:sldLayoutId id="2147485781" r:id="rId52"/>
    <p:sldLayoutId id="2147485782" r:id="rId53"/>
    <p:sldLayoutId id="2147485783" r:id="rId54"/>
    <p:sldLayoutId id="2147485784" r:id="rId55"/>
    <p:sldLayoutId id="2147485785" r:id="rId56"/>
    <p:sldLayoutId id="2147485786" r:id="rId57"/>
    <p:sldLayoutId id="2147485787" r:id="rId58"/>
    <p:sldLayoutId id="2147485788" r:id="rId59"/>
    <p:sldLayoutId id="2147485789" r:id="rId60"/>
    <p:sldLayoutId id="2147485790" r:id="rId61"/>
    <p:sldLayoutId id="2147485791" r:id="rId62"/>
    <p:sldLayoutId id="2147485792" r:id="rId63"/>
    <p:sldLayoutId id="2147485793" r:id="rId64"/>
    <p:sldLayoutId id="2147485794" r:id="rId65"/>
    <p:sldLayoutId id="2147485795" r:id="rId66"/>
    <p:sldLayoutId id="2147485796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86" name="think-cell Slide" r:id="rId69" imgW="270" imgH="270" progId="TCLayout.ActiveDocument.1">
                  <p:embed/>
                </p:oleObj>
              </mc:Choice>
              <mc:Fallback>
                <p:oleObj name="think-cell Slide" r:id="rId6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775802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98" r:id="rId1"/>
    <p:sldLayoutId id="2147485799" r:id="rId2"/>
    <p:sldLayoutId id="2147485800" r:id="rId3"/>
    <p:sldLayoutId id="2147485801" r:id="rId4"/>
    <p:sldLayoutId id="2147485802" r:id="rId5"/>
    <p:sldLayoutId id="2147485803" r:id="rId6"/>
    <p:sldLayoutId id="2147485804" r:id="rId7"/>
    <p:sldLayoutId id="2147485805" r:id="rId8"/>
    <p:sldLayoutId id="2147485806" r:id="rId9"/>
    <p:sldLayoutId id="2147485807" r:id="rId10"/>
    <p:sldLayoutId id="2147485808" r:id="rId11"/>
    <p:sldLayoutId id="2147485809" r:id="rId12"/>
    <p:sldLayoutId id="2147485810" r:id="rId13"/>
    <p:sldLayoutId id="2147485811" r:id="rId14"/>
    <p:sldLayoutId id="2147485812" r:id="rId15"/>
    <p:sldLayoutId id="2147485813" r:id="rId16"/>
    <p:sldLayoutId id="2147485814" r:id="rId17"/>
    <p:sldLayoutId id="2147485815" r:id="rId18"/>
    <p:sldLayoutId id="2147485816" r:id="rId19"/>
    <p:sldLayoutId id="2147485817" r:id="rId20"/>
    <p:sldLayoutId id="2147485818" r:id="rId21"/>
    <p:sldLayoutId id="2147485819" r:id="rId22"/>
    <p:sldLayoutId id="2147485820" r:id="rId23"/>
    <p:sldLayoutId id="2147485821" r:id="rId24"/>
    <p:sldLayoutId id="2147485822" r:id="rId25"/>
    <p:sldLayoutId id="2147485823" r:id="rId26"/>
    <p:sldLayoutId id="2147485824" r:id="rId27"/>
    <p:sldLayoutId id="2147485825" r:id="rId28"/>
    <p:sldLayoutId id="2147485826" r:id="rId29"/>
    <p:sldLayoutId id="2147485827" r:id="rId30"/>
    <p:sldLayoutId id="2147485828" r:id="rId31"/>
    <p:sldLayoutId id="2147485829" r:id="rId32"/>
    <p:sldLayoutId id="2147485830" r:id="rId33"/>
    <p:sldLayoutId id="2147485831" r:id="rId34"/>
    <p:sldLayoutId id="2147485832" r:id="rId35"/>
    <p:sldLayoutId id="2147485833" r:id="rId36"/>
    <p:sldLayoutId id="2147485834" r:id="rId37"/>
    <p:sldLayoutId id="2147485835" r:id="rId38"/>
    <p:sldLayoutId id="2147485836" r:id="rId39"/>
    <p:sldLayoutId id="2147485837" r:id="rId40"/>
    <p:sldLayoutId id="2147485838" r:id="rId41"/>
    <p:sldLayoutId id="2147485839" r:id="rId42"/>
    <p:sldLayoutId id="2147485840" r:id="rId43"/>
    <p:sldLayoutId id="2147485841" r:id="rId44"/>
    <p:sldLayoutId id="2147485842" r:id="rId45"/>
    <p:sldLayoutId id="2147485843" r:id="rId46"/>
    <p:sldLayoutId id="2147485844" r:id="rId47"/>
    <p:sldLayoutId id="2147485845" r:id="rId48"/>
    <p:sldLayoutId id="2147485846" r:id="rId49"/>
    <p:sldLayoutId id="2147485847" r:id="rId50"/>
    <p:sldLayoutId id="2147485848" r:id="rId51"/>
    <p:sldLayoutId id="2147485849" r:id="rId52"/>
    <p:sldLayoutId id="2147485850" r:id="rId53"/>
    <p:sldLayoutId id="2147485851" r:id="rId54"/>
    <p:sldLayoutId id="2147485852" r:id="rId55"/>
    <p:sldLayoutId id="2147485853" r:id="rId56"/>
    <p:sldLayoutId id="2147485854" r:id="rId57"/>
    <p:sldLayoutId id="2147485855" r:id="rId58"/>
    <p:sldLayoutId id="2147485856" r:id="rId59"/>
    <p:sldLayoutId id="2147485857" r:id="rId60"/>
    <p:sldLayoutId id="2147485858" r:id="rId61"/>
    <p:sldLayoutId id="2147485859" r:id="rId62"/>
    <p:sldLayoutId id="2147485860" r:id="rId63"/>
    <p:sldLayoutId id="2147485861" r:id="rId64"/>
    <p:sldLayoutId id="2147485862" r:id="rId6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2015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48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5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0475" y="162000"/>
            <a:ext cx="11033604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0475" y="1508400"/>
            <a:ext cx="11033604" cy="461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Simple"/>
          <p:cNvSpPr/>
          <p:nvPr>
            <p:custDataLst>
              <p:tags r:id="rId9"/>
            </p:custDataLst>
          </p:nvPr>
        </p:nvSpPr>
        <p:spPr>
          <a:xfrm>
            <a:off x="580476" y="6699600"/>
            <a:ext cx="818150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r>
              <a:rPr lang="it-IT" sz="700" smtClean="0">
                <a:solidFill>
                  <a:srgbClr val="808080"/>
                </a:solidFill>
              </a:rPr>
              <a:t>SCALE AI presentation.pptx</a:t>
            </a:r>
            <a:endParaRPr lang="en-US" sz="700" dirty="0">
              <a:solidFill>
                <a:srgbClr val="80808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352528" y="6675838"/>
            <a:ext cx="266122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8FDC6993-5875-43F1-AB5B-56FAFD3221C9}" type="slidenum">
              <a:rPr lang="en-US" sz="9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sz="900" dirty="0">
              <a:solidFill>
                <a:srgbClr val="000000"/>
              </a:solidFill>
            </a:endParaRPr>
          </a:p>
          <a:p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5" name="Warsaw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 rot="-5400000">
            <a:off x="9725883" y="4229753"/>
            <a:ext cx="4559300" cy="25198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anchor="b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CA" sz="700" dirty="0">
                <a:solidFill>
                  <a:srgbClr val="808080"/>
                </a:solidFill>
                <a:cs typeface="Arial" pitchFamily="34" charset="0"/>
              </a:rPr>
              <a:t>All rights reserved.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2" t="6963" r="9262" b="6448"/>
          <a:stretch/>
        </p:blipFill>
        <p:spPr>
          <a:xfrm>
            <a:off x="10850827" y="108222"/>
            <a:ext cx="1195479" cy="575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798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64" r:id="rId1"/>
    <p:sldLayoutId id="2147485865" r:id="rId2"/>
    <p:sldLayoutId id="2147485866" r:id="rId3"/>
    <p:sldLayoutId id="2147485867" r:id="rId4"/>
    <p:sldLayoutId id="2147485868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4D4D4D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5200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9200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2015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676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5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0475" y="162000"/>
            <a:ext cx="11033604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0475" y="1508400"/>
            <a:ext cx="11033604" cy="461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Simple"/>
          <p:cNvSpPr/>
          <p:nvPr>
            <p:custDataLst>
              <p:tags r:id="rId10"/>
            </p:custDataLst>
          </p:nvPr>
        </p:nvSpPr>
        <p:spPr>
          <a:xfrm>
            <a:off x="580476" y="6699600"/>
            <a:ext cx="818150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r>
              <a:rPr lang="it-IT" sz="700" smtClean="0">
                <a:solidFill>
                  <a:srgbClr val="808080"/>
                </a:solidFill>
              </a:rPr>
              <a:t>SCALE AI presentation.pptx</a:t>
            </a:r>
            <a:endParaRPr lang="en-US" sz="700" dirty="0">
              <a:solidFill>
                <a:srgbClr val="80808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352528" y="6675838"/>
            <a:ext cx="266122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8FDC6993-5875-43F1-AB5B-56FAFD3221C9}" type="slidenum">
              <a:rPr lang="en-US" sz="900" smtClean="0">
                <a:solidFill>
                  <a:srgbClr val="4D4D4D"/>
                </a:solidFill>
              </a:rPr>
              <a:pPr algn="r">
                <a:defRPr/>
              </a:pPr>
              <a:t>‹#›</a:t>
            </a:fld>
            <a:endParaRPr lang="en-US" sz="900" dirty="0">
              <a:solidFill>
                <a:srgbClr val="4D4D4D"/>
              </a:solidFill>
            </a:endParaRPr>
          </a:p>
          <a:p>
            <a:endParaRPr lang="en-US" sz="900" dirty="0">
              <a:solidFill>
                <a:srgbClr val="4D4D4D"/>
              </a:solidFill>
            </a:endParaRPr>
          </a:p>
        </p:txBody>
      </p:sp>
      <p:sp>
        <p:nvSpPr>
          <p:cNvPr id="15" name="Warsaw"/>
          <p:cNvSpPr txBox="1">
            <a:spLocks noChangeArrowheads="1"/>
          </p:cNvSpPr>
          <p:nvPr userDrawn="1">
            <p:custDataLst>
              <p:tags r:id="rId11"/>
            </p:custDataLst>
          </p:nvPr>
        </p:nvSpPr>
        <p:spPr bwMode="gray">
          <a:xfrm rot="-5400000">
            <a:off x="9725883" y="4229753"/>
            <a:ext cx="4559300" cy="25198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anchor="b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CA" sz="700" dirty="0">
                <a:solidFill>
                  <a:srgbClr val="808080"/>
                </a:solidFill>
                <a:cs typeface="Arial" pitchFamily="34" charset="0"/>
              </a:rPr>
              <a:t>All rights reserved.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2" t="6963" r="9262" b="6448"/>
          <a:stretch/>
        </p:blipFill>
        <p:spPr>
          <a:xfrm>
            <a:off x="10850827" y="108222"/>
            <a:ext cx="1195479" cy="575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393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70" r:id="rId1"/>
    <p:sldLayoutId id="2147485871" r:id="rId2"/>
    <p:sldLayoutId id="2147485872" r:id="rId3"/>
    <p:sldLayoutId id="2147485873" r:id="rId4"/>
    <p:sldLayoutId id="2147485874" r:id="rId5"/>
    <p:sldLayoutId id="2147485875" r:id="rId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4D4D4D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i="0" kern="1200">
          <a:solidFill>
            <a:srgbClr val="4D4D4D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rgbClr val="273D47"/>
        </a:buClr>
        <a:buFont typeface="Arial" pitchFamily="34" charset="0"/>
        <a:buChar char="•"/>
        <a:defRPr sz="1600" kern="1200">
          <a:solidFill>
            <a:srgbClr val="4D4D4D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rgbClr val="273D47"/>
        </a:buClr>
        <a:buFont typeface="Arial" pitchFamily="34" charset="0"/>
        <a:buChar char="–"/>
        <a:defRPr sz="1600" kern="1200">
          <a:solidFill>
            <a:srgbClr val="4D4D4D"/>
          </a:solidFill>
          <a:latin typeface="+mn-lt"/>
          <a:ea typeface="+mn-ea"/>
          <a:cs typeface="+mn-cs"/>
        </a:defRPr>
      </a:lvl3pPr>
      <a:lvl4pPr marL="1375200" indent="-233362" algn="l" defTabSz="914400" rtl="0" eaLnBrk="1" latinLnBrk="0" hangingPunct="1">
        <a:spcBef>
          <a:spcPts val="384"/>
        </a:spcBef>
        <a:buClr>
          <a:srgbClr val="273D47"/>
        </a:buClr>
        <a:buFont typeface="Arial" pitchFamily="34" charset="0"/>
        <a:buChar char="–"/>
        <a:defRPr sz="1600" kern="1200">
          <a:solidFill>
            <a:srgbClr val="4D4D4D"/>
          </a:solidFill>
          <a:latin typeface="+mn-lt"/>
          <a:ea typeface="+mn-ea"/>
          <a:cs typeface="+mn-cs"/>
        </a:defRPr>
      </a:lvl4pPr>
      <a:lvl5pPr marL="2059200" indent="-230188" algn="l" defTabSz="914400" rtl="0" eaLnBrk="1" latinLnBrk="0" hangingPunct="1">
        <a:spcBef>
          <a:spcPts val="384"/>
        </a:spcBef>
        <a:buClr>
          <a:srgbClr val="273D47"/>
        </a:buClr>
        <a:buFont typeface="Arial" pitchFamily="34" charset="0"/>
        <a:buChar char="–"/>
        <a:defRPr sz="1600" kern="1200">
          <a:solidFill>
            <a:srgbClr val="4D4D4D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584413596"/>
              </p:ext>
            </p:extLst>
          </p:nvPr>
        </p:nvGraphicFramePr>
        <p:xfrm>
          <a:off x="2015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69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5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0475" y="162000"/>
            <a:ext cx="11033604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0475" y="1508400"/>
            <a:ext cx="11033604" cy="461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Simple"/>
          <p:cNvSpPr/>
          <p:nvPr>
            <p:custDataLst>
              <p:tags r:id="rId8"/>
            </p:custDataLst>
          </p:nvPr>
        </p:nvSpPr>
        <p:spPr>
          <a:xfrm>
            <a:off x="580476" y="6699600"/>
            <a:ext cx="818150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r>
              <a:rPr lang="it-IT" sz="700" smtClean="0">
                <a:solidFill>
                  <a:srgbClr val="808080"/>
                </a:solidFill>
              </a:rPr>
              <a:t>SCALE AI presentation.pptx</a:t>
            </a:r>
            <a:endParaRPr lang="en-US" sz="700" dirty="0">
              <a:solidFill>
                <a:srgbClr val="80808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352528" y="6675838"/>
            <a:ext cx="266122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8FDC6993-5875-43F1-AB5B-56FAFD3221C9}" type="slidenum">
              <a:rPr lang="en-US" sz="9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sz="900" dirty="0">
              <a:solidFill>
                <a:srgbClr val="000000"/>
              </a:solidFill>
            </a:endParaRPr>
          </a:p>
          <a:p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5" name="Warsaw"/>
          <p:cNvSpPr txBox="1"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 rot="-5400000">
            <a:off x="9725883" y="4229753"/>
            <a:ext cx="4559300" cy="25198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anchor="b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CA" sz="700" dirty="0">
                <a:solidFill>
                  <a:srgbClr val="808080"/>
                </a:solidFill>
                <a:cs typeface="Arial" pitchFamily="34" charset="0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68842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5" r:id="rId1"/>
    <p:sldLayoutId id="2147485186" r:id="rId2"/>
    <p:sldLayoutId id="2147485187" r:id="rId3"/>
    <p:sldLayoutId id="2147485188" r:id="rId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4D4D4D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5200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9200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588" name="think-cell Slide" r:id="rId72" imgW="270" imgH="270" progId="TCLayout.ActiveDocument.1">
                  <p:embed/>
                </p:oleObj>
              </mc:Choice>
              <mc:Fallback>
                <p:oleObj name="think-cell Slide" r:id="rId7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903334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91" r:id="rId1"/>
    <p:sldLayoutId id="2147485192" r:id="rId2"/>
    <p:sldLayoutId id="2147485193" r:id="rId3"/>
    <p:sldLayoutId id="2147485194" r:id="rId4"/>
    <p:sldLayoutId id="2147485195" r:id="rId5"/>
    <p:sldLayoutId id="2147485196" r:id="rId6"/>
    <p:sldLayoutId id="2147485197" r:id="rId7"/>
    <p:sldLayoutId id="2147485198" r:id="rId8"/>
    <p:sldLayoutId id="2147485199" r:id="rId9"/>
    <p:sldLayoutId id="2147485200" r:id="rId10"/>
    <p:sldLayoutId id="2147485201" r:id="rId11"/>
    <p:sldLayoutId id="2147485202" r:id="rId12"/>
    <p:sldLayoutId id="2147485203" r:id="rId13"/>
    <p:sldLayoutId id="2147485204" r:id="rId14"/>
    <p:sldLayoutId id="2147485205" r:id="rId15"/>
    <p:sldLayoutId id="2147485206" r:id="rId16"/>
    <p:sldLayoutId id="2147485207" r:id="rId17"/>
    <p:sldLayoutId id="2147485208" r:id="rId18"/>
    <p:sldLayoutId id="2147485209" r:id="rId19"/>
    <p:sldLayoutId id="2147485210" r:id="rId20"/>
    <p:sldLayoutId id="2147485211" r:id="rId21"/>
    <p:sldLayoutId id="2147485212" r:id="rId22"/>
    <p:sldLayoutId id="2147485213" r:id="rId23"/>
    <p:sldLayoutId id="2147485214" r:id="rId24"/>
    <p:sldLayoutId id="2147485215" r:id="rId25"/>
    <p:sldLayoutId id="2147485216" r:id="rId26"/>
    <p:sldLayoutId id="2147485217" r:id="rId27"/>
    <p:sldLayoutId id="2147485218" r:id="rId28"/>
    <p:sldLayoutId id="2147485219" r:id="rId29"/>
    <p:sldLayoutId id="2147485220" r:id="rId30"/>
    <p:sldLayoutId id="2147485221" r:id="rId31"/>
    <p:sldLayoutId id="2147485222" r:id="rId32"/>
    <p:sldLayoutId id="2147485223" r:id="rId33"/>
    <p:sldLayoutId id="2147485224" r:id="rId34"/>
    <p:sldLayoutId id="2147485225" r:id="rId35"/>
    <p:sldLayoutId id="2147485226" r:id="rId36"/>
    <p:sldLayoutId id="2147485227" r:id="rId37"/>
    <p:sldLayoutId id="2147485228" r:id="rId38"/>
    <p:sldLayoutId id="2147485229" r:id="rId39"/>
    <p:sldLayoutId id="2147485230" r:id="rId40"/>
    <p:sldLayoutId id="2147485231" r:id="rId41"/>
    <p:sldLayoutId id="2147485232" r:id="rId42"/>
    <p:sldLayoutId id="2147485233" r:id="rId43"/>
    <p:sldLayoutId id="2147485234" r:id="rId44"/>
    <p:sldLayoutId id="2147485235" r:id="rId45"/>
    <p:sldLayoutId id="2147485236" r:id="rId46"/>
    <p:sldLayoutId id="2147485237" r:id="rId47"/>
    <p:sldLayoutId id="2147485238" r:id="rId48"/>
    <p:sldLayoutId id="2147485239" r:id="rId49"/>
    <p:sldLayoutId id="2147485240" r:id="rId50"/>
    <p:sldLayoutId id="2147485241" r:id="rId51"/>
    <p:sldLayoutId id="2147485242" r:id="rId52"/>
    <p:sldLayoutId id="2147485243" r:id="rId53"/>
    <p:sldLayoutId id="2147485244" r:id="rId54"/>
    <p:sldLayoutId id="2147485245" r:id="rId55"/>
    <p:sldLayoutId id="2147485246" r:id="rId56"/>
    <p:sldLayoutId id="2147485247" r:id="rId57"/>
    <p:sldLayoutId id="2147485248" r:id="rId58"/>
    <p:sldLayoutId id="2147485249" r:id="rId59"/>
    <p:sldLayoutId id="2147485250" r:id="rId60"/>
    <p:sldLayoutId id="2147485251" r:id="rId61"/>
    <p:sldLayoutId id="2147485252" r:id="rId62"/>
    <p:sldLayoutId id="2147485253" r:id="rId63"/>
    <p:sldLayoutId id="2147485254" r:id="rId64"/>
    <p:sldLayoutId id="2147485255" r:id="rId65"/>
    <p:sldLayoutId id="2147485256" r:id="rId66"/>
    <p:sldLayoutId id="2147485257" r:id="rId67"/>
    <p:sldLayoutId id="2147485258" r:id="rId6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828" name="think-cell Slide" r:id="rId72" imgW="270" imgH="270" progId="TCLayout.ActiveDocument.1">
                  <p:embed/>
                </p:oleObj>
              </mc:Choice>
              <mc:Fallback>
                <p:oleObj name="think-cell Slide" r:id="rId7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945131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0" r:id="rId1"/>
    <p:sldLayoutId id="2147485261" r:id="rId2"/>
    <p:sldLayoutId id="2147485262" r:id="rId3"/>
    <p:sldLayoutId id="2147485263" r:id="rId4"/>
    <p:sldLayoutId id="2147485264" r:id="rId5"/>
    <p:sldLayoutId id="2147485265" r:id="rId6"/>
    <p:sldLayoutId id="2147485266" r:id="rId7"/>
    <p:sldLayoutId id="2147485267" r:id="rId8"/>
    <p:sldLayoutId id="2147485268" r:id="rId9"/>
    <p:sldLayoutId id="2147485269" r:id="rId10"/>
    <p:sldLayoutId id="2147485270" r:id="rId11"/>
    <p:sldLayoutId id="2147485271" r:id="rId12"/>
    <p:sldLayoutId id="2147485272" r:id="rId13"/>
    <p:sldLayoutId id="2147485273" r:id="rId14"/>
    <p:sldLayoutId id="2147485274" r:id="rId15"/>
    <p:sldLayoutId id="2147485275" r:id="rId16"/>
    <p:sldLayoutId id="2147485276" r:id="rId17"/>
    <p:sldLayoutId id="2147485277" r:id="rId18"/>
    <p:sldLayoutId id="2147485278" r:id="rId19"/>
    <p:sldLayoutId id="2147485279" r:id="rId20"/>
    <p:sldLayoutId id="2147485280" r:id="rId21"/>
    <p:sldLayoutId id="2147485281" r:id="rId22"/>
    <p:sldLayoutId id="2147485282" r:id="rId23"/>
    <p:sldLayoutId id="2147485283" r:id="rId24"/>
    <p:sldLayoutId id="2147485284" r:id="rId25"/>
    <p:sldLayoutId id="2147485285" r:id="rId26"/>
    <p:sldLayoutId id="2147485286" r:id="rId27"/>
    <p:sldLayoutId id="2147485287" r:id="rId28"/>
    <p:sldLayoutId id="2147485288" r:id="rId29"/>
    <p:sldLayoutId id="2147485289" r:id="rId30"/>
    <p:sldLayoutId id="2147485290" r:id="rId31"/>
    <p:sldLayoutId id="2147485291" r:id="rId32"/>
    <p:sldLayoutId id="2147485292" r:id="rId33"/>
    <p:sldLayoutId id="2147485293" r:id="rId34"/>
    <p:sldLayoutId id="2147485294" r:id="rId35"/>
    <p:sldLayoutId id="2147485295" r:id="rId36"/>
    <p:sldLayoutId id="2147485296" r:id="rId37"/>
    <p:sldLayoutId id="2147485297" r:id="rId38"/>
    <p:sldLayoutId id="2147485298" r:id="rId39"/>
    <p:sldLayoutId id="2147485299" r:id="rId40"/>
    <p:sldLayoutId id="2147485300" r:id="rId41"/>
    <p:sldLayoutId id="2147485301" r:id="rId42"/>
    <p:sldLayoutId id="2147485302" r:id="rId43"/>
    <p:sldLayoutId id="2147485303" r:id="rId44"/>
    <p:sldLayoutId id="2147485304" r:id="rId45"/>
    <p:sldLayoutId id="2147485305" r:id="rId46"/>
    <p:sldLayoutId id="2147485306" r:id="rId47"/>
    <p:sldLayoutId id="2147485307" r:id="rId48"/>
    <p:sldLayoutId id="2147485308" r:id="rId49"/>
    <p:sldLayoutId id="2147485309" r:id="rId50"/>
    <p:sldLayoutId id="2147485310" r:id="rId51"/>
    <p:sldLayoutId id="2147485311" r:id="rId52"/>
    <p:sldLayoutId id="2147485312" r:id="rId53"/>
    <p:sldLayoutId id="2147485313" r:id="rId54"/>
    <p:sldLayoutId id="2147485314" r:id="rId55"/>
    <p:sldLayoutId id="2147485315" r:id="rId56"/>
    <p:sldLayoutId id="2147485316" r:id="rId57"/>
    <p:sldLayoutId id="2147485317" r:id="rId58"/>
    <p:sldLayoutId id="2147485318" r:id="rId59"/>
    <p:sldLayoutId id="2147485319" r:id="rId60"/>
    <p:sldLayoutId id="2147485320" r:id="rId61"/>
    <p:sldLayoutId id="2147485321" r:id="rId62"/>
    <p:sldLayoutId id="2147485322" r:id="rId63"/>
    <p:sldLayoutId id="2147485323" r:id="rId64"/>
    <p:sldLayoutId id="2147485324" r:id="rId65"/>
    <p:sldLayoutId id="2147485325" r:id="rId66"/>
    <p:sldLayoutId id="2147485326" r:id="rId67"/>
    <p:sldLayoutId id="2147485327" r:id="rId6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68" name="think-cell Slide" r:id="rId72" imgW="270" imgH="270" progId="TCLayout.ActiveDocument.1">
                  <p:embed/>
                </p:oleObj>
              </mc:Choice>
              <mc:Fallback>
                <p:oleObj name="think-cell Slide" r:id="rId7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3374927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29" r:id="rId1"/>
    <p:sldLayoutId id="2147485330" r:id="rId2"/>
    <p:sldLayoutId id="2147485331" r:id="rId3"/>
    <p:sldLayoutId id="2147485332" r:id="rId4"/>
    <p:sldLayoutId id="2147485333" r:id="rId5"/>
    <p:sldLayoutId id="2147485334" r:id="rId6"/>
    <p:sldLayoutId id="2147485335" r:id="rId7"/>
    <p:sldLayoutId id="2147485336" r:id="rId8"/>
    <p:sldLayoutId id="2147485337" r:id="rId9"/>
    <p:sldLayoutId id="2147485338" r:id="rId10"/>
    <p:sldLayoutId id="2147485339" r:id="rId11"/>
    <p:sldLayoutId id="2147485340" r:id="rId12"/>
    <p:sldLayoutId id="2147485341" r:id="rId13"/>
    <p:sldLayoutId id="2147485342" r:id="rId14"/>
    <p:sldLayoutId id="2147485343" r:id="rId15"/>
    <p:sldLayoutId id="2147485344" r:id="rId16"/>
    <p:sldLayoutId id="2147485345" r:id="rId17"/>
    <p:sldLayoutId id="2147485346" r:id="rId18"/>
    <p:sldLayoutId id="2147485347" r:id="rId19"/>
    <p:sldLayoutId id="2147485348" r:id="rId20"/>
    <p:sldLayoutId id="2147485349" r:id="rId21"/>
    <p:sldLayoutId id="2147485350" r:id="rId22"/>
    <p:sldLayoutId id="2147485351" r:id="rId23"/>
    <p:sldLayoutId id="2147485352" r:id="rId24"/>
    <p:sldLayoutId id="2147485353" r:id="rId25"/>
    <p:sldLayoutId id="2147485354" r:id="rId26"/>
    <p:sldLayoutId id="2147485355" r:id="rId27"/>
    <p:sldLayoutId id="2147485356" r:id="rId28"/>
    <p:sldLayoutId id="2147485357" r:id="rId29"/>
    <p:sldLayoutId id="2147485358" r:id="rId30"/>
    <p:sldLayoutId id="2147485359" r:id="rId31"/>
    <p:sldLayoutId id="2147485360" r:id="rId32"/>
    <p:sldLayoutId id="2147485361" r:id="rId33"/>
    <p:sldLayoutId id="2147485362" r:id="rId34"/>
    <p:sldLayoutId id="2147485363" r:id="rId35"/>
    <p:sldLayoutId id="2147485364" r:id="rId36"/>
    <p:sldLayoutId id="2147485365" r:id="rId37"/>
    <p:sldLayoutId id="2147485366" r:id="rId38"/>
    <p:sldLayoutId id="2147485367" r:id="rId39"/>
    <p:sldLayoutId id="2147485368" r:id="rId40"/>
    <p:sldLayoutId id="2147485369" r:id="rId41"/>
    <p:sldLayoutId id="2147485370" r:id="rId42"/>
    <p:sldLayoutId id="2147485371" r:id="rId43"/>
    <p:sldLayoutId id="2147485372" r:id="rId44"/>
    <p:sldLayoutId id="2147485373" r:id="rId45"/>
    <p:sldLayoutId id="2147485374" r:id="rId46"/>
    <p:sldLayoutId id="2147485375" r:id="rId47"/>
    <p:sldLayoutId id="2147485376" r:id="rId48"/>
    <p:sldLayoutId id="2147485377" r:id="rId49"/>
    <p:sldLayoutId id="2147485378" r:id="rId50"/>
    <p:sldLayoutId id="2147485379" r:id="rId51"/>
    <p:sldLayoutId id="2147485380" r:id="rId52"/>
    <p:sldLayoutId id="2147485381" r:id="rId53"/>
    <p:sldLayoutId id="2147485382" r:id="rId54"/>
    <p:sldLayoutId id="2147485383" r:id="rId55"/>
    <p:sldLayoutId id="2147485384" r:id="rId56"/>
    <p:sldLayoutId id="2147485385" r:id="rId57"/>
    <p:sldLayoutId id="2147485386" r:id="rId58"/>
    <p:sldLayoutId id="2147485387" r:id="rId59"/>
    <p:sldLayoutId id="2147485388" r:id="rId60"/>
    <p:sldLayoutId id="2147485389" r:id="rId61"/>
    <p:sldLayoutId id="2147485390" r:id="rId62"/>
    <p:sldLayoutId id="2147485391" r:id="rId63"/>
    <p:sldLayoutId id="2147485392" r:id="rId64"/>
    <p:sldLayoutId id="2147485393" r:id="rId65"/>
    <p:sldLayoutId id="2147485394" r:id="rId66"/>
    <p:sldLayoutId id="2147485395" r:id="rId67"/>
    <p:sldLayoutId id="2147485396" r:id="rId6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308" name="think-cell Slide" r:id="rId72" imgW="270" imgH="270" progId="TCLayout.ActiveDocument.1">
                  <p:embed/>
                </p:oleObj>
              </mc:Choice>
              <mc:Fallback>
                <p:oleObj name="think-cell Slide" r:id="rId7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407413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98" r:id="rId1"/>
    <p:sldLayoutId id="2147485399" r:id="rId2"/>
    <p:sldLayoutId id="2147485400" r:id="rId3"/>
    <p:sldLayoutId id="2147485401" r:id="rId4"/>
    <p:sldLayoutId id="2147485402" r:id="rId5"/>
    <p:sldLayoutId id="2147485403" r:id="rId6"/>
    <p:sldLayoutId id="2147485404" r:id="rId7"/>
    <p:sldLayoutId id="2147485405" r:id="rId8"/>
    <p:sldLayoutId id="2147485406" r:id="rId9"/>
    <p:sldLayoutId id="2147485407" r:id="rId10"/>
    <p:sldLayoutId id="2147485408" r:id="rId11"/>
    <p:sldLayoutId id="2147485409" r:id="rId12"/>
    <p:sldLayoutId id="2147485410" r:id="rId13"/>
    <p:sldLayoutId id="2147485411" r:id="rId14"/>
    <p:sldLayoutId id="2147485412" r:id="rId15"/>
    <p:sldLayoutId id="2147485413" r:id="rId16"/>
    <p:sldLayoutId id="2147485414" r:id="rId17"/>
    <p:sldLayoutId id="2147485415" r:id="rId18"/>
    <p:sldLayoutId id="2147485416" r:id="rId19"/>
    <p:sldLayoutId id="2147485417" r:id="rId20"/>
    <p:sldLayoutId id="2147485418" r:id="rId21"/>
    <p:sldLayoutId id="2147485419" r:id="rId22"/>
    <p:sldLayoutId id="2147485420" r:id="rId23"/>
    <p:sldLayoutId id="2147485421" r:id="rId24"/>
    <p:sldLayoutId id="2147485422" r:id="rId25"/>
    <p:sldLayoutId id="2147485423" r:id="rId26"/>
    <p:sldLayoutId id="2147485424" r:id="rId27"/>
    <p:sldLayoutId id="2147485425" r:id="rId28"/>
    <p:sldLayoutId id="2147485426" r:id="rId29"/>
    <p:sldLayoutId id="2147485427" r:id="rId30"/>
    <p:sldLayoutId id="2147485428" r:id="rId31"/>
    <p:sldLayoutId id="2147485429" r:id="rId32"/>
    <p:sldLayoutId id="2147485430" r:id="rId33"/>
    <p:sldLayoutId id="2147485431" r:id="rId34"/>
    <p:sldLayoutId id="2147485432" r:id="rId35"/>
    <p:sldLayoutId id="2147485433" r:id="rId36"/>
    <p:sldLayoutId id="2147485434" r:id="rId37"/>
    <p:sldLayoutId id="2147485435" r:id="rId38"/>
    <p:sldLayoutId id="2147485436" r:id="rId39"/>
    <p:sldLayoutId id="2147485437" r:id="rId40"/>
    <p:sldLayoutId id="2147485438" r:id="rId41"/>
    <p:sldLayoutId id="2147485439" r:id="rId42"/>
    <p:sldLayoutId id="2147485440" r:id="rId43"/>
    <p:sldLayoutId id="2147485441" r:id="rId44"/>
    <p:sldLayoutId id="2147485442" r:id="rId45"/>
    <p:sldLayoutId id="2147485443" r:id="rId46"/>
    <p:sldLayoutId id="2147485444" r:id="rId47"/>
    <p:sldLayoutId id="2147485445" r:id="rId48"/>
    <p:sldLayoutId id="2147485446" r:id="rId49"/>
    <p:sldLayoutId id="2147485447" r:id="rId50"/>
    <p:sldLayoutId id="2147485448" r:id="rId51"/>
    <p:sldLayoutId id="2147485449" r:id="rId52"/>
    <p:sldLayoutId id="2147485450" r:id="rId53"/>
    <p:sldLayoutId id="2147485451" r:id="rId54"/>
    <p:sldLayoutId id="2147485452" r:id="rId55"/>
    <p:sldLayoutId id="2147485453" r:id="rId56"/>
    <p:sldLayoutId id="2147485454" r:id="rId57"/>
    <p:sldLayoutId id="2147485455" r:id="rId58"/>
    <p:sldLayoutId id="2147485456" r:id="rId59"/>
    <p:sldLayoutId id="2147485457" r:id="rId60"/>
    <p:sldLayoutId id="2147485458" r:id="rId61"/>
    <p:sldLayoutId id="2147485459" r:id="rId62"/>
    <p:sldLayoutId id="2147485460" r:id="rId63"/>
    <p:sldLayoutId id="2147485461" r:id="rId64"/>
    <p:sldLayoutId id="2147485462" r:id="rId65"/>
    <p:sldLayoutId id="2147485463" r:id="rId66"/>
    <p:sldLayoutId id="2147485464" r:id="rId67"/>
    <p:sldLayoutId id="2147485465" r:id="rId6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63957701"/>
              </p:ext>
            </p:extLst>
          </p:nvPr>
        </p:nvGraphicFramePr>
        <p:xfrm>
          <a:off x="2015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729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5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0475" y="162000"/>
            <a:ext cx="11033604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0475" y="1508400"/>
            <a:ext cx="11033604" cy="461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Simple"/>
          <p:cNvSpPr/>
          <p:nvPr>
            <p:custDataLst>
              <p:tags r:id="rId9"/>
            </p:custDataLst>
          </p:nvPr>
        </p:nvSpPr>
        <p:spPr>
          <a:xfrm>
            <a:off x="580476" y="6699600"/>
            <a:ext cx="818150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r>
              <a:rPr lang="it-IT" sz="700" smtClean="0">
                <a:solidFill>
                  <a:srgbClr val="808080"/>
                </a:solidFill>
              </a:rPr>
              <a:t>SCALE AI presentation.pptx</a:t>
            </a:r>
            <a:endParaRPr lang="en-US" sz="700" dirty="0">
              <a:solidFill>
                <a:srgbClr val="80808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352528" y="6675838"/>
            <a:ext cx="266122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8FDC6993-5875-43F1-AB5B-56FAFD3221C9}" type="slidenum">
              <a:rPr lang="en-US" sz="9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sz="900" dirty="0">
              <a:solidFill>
                <a:srgbClr val="000000"/>
              </a:solidFill>
            </a:endParaRPr>
          </a:p>
          <a:p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5" name="Warsaw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 rot="-5400000">
            <a:off x="9725883" y="4229753"/>
            <a:ext cx="4559300" cy="25198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anchor="b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CA" sz="700" dirty="0">
                <a:solidFill>
                  <a:srgbClr val="808080"/>
                </a:solidFill>
                <a:cs typeface="Arial" pitchFamily="34" charset="0"/>
              </a:rPr>
              <a:t>All rights reserved.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2" t="6963" r="9262" b="6448"/>
          <a:stretch/>
        </p:blipFill>
        <p:spPr>
          <a:xfrm>
            <a:off x="10850827" y="108222"/>
            <a:ext cx="1195479" cy="575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463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67" r:id="rId1"/>
    <p:sldLayoutId id="2147485468" r:id="rId2"/>
    <p:sldLayoutId id="2147485469" r:id="rId3"/>
    <p:sldLayoutId id="2147485470" r:id="rId4"/>
    <p:sldLayoutId id="2147485878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4D4D4D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5200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9200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2015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209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5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0475" y="162000"/>
            <a:ext cx="11033604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0475" y="1508400"/>
            <a:ext cx="11033604" cy="461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Simple"/>
          <p:cNvSpPr/>
          <p:nvPr>
            <p:custDataLst>
              <p:tags r:id="rId10"/>
            </p:custDataLst>
          </p:nvPr>
        </p:nvSpPr>
        <p:spPr>
          <a:xfrm>
            <a:off x="580476" y="6699600"/>
            <a:ext cx="818150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r>
              <a:rPr lang="it-IT" sz="700" smtClean="0">
                <a:solidFill>
                  <a:srgbClr val="808080"/>
                </a:solidFill>
              </a:rPr>
              <a:t>SCALE AI presentation.pptx</a:t>
            </a:r>
            <a:endParaRPr lang="en-US" sz="700" dirty="0">
              <a:solidFill>
                <a:srgbClr val="80808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352528" y="6675838"/>
            <a:ext cx="266122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8FDC6993-5875-43F1-AB5B-56FAFD3221C9}" type="slidenum">
              <a:rPr lang="en-US" sz="900" smtClean="0">
                <a:solidFill>
                  <a:srgbClr val="4D4D4D"/>
                </a:solidFill>
              </a:rPr>
              <a:pPr algn="r">
                <a:defRPr/>
              </a:pPr>
              <a:t>‹#›</a:t>
            </a:fld>
            <a:endParaRPr lang="en-US" sz="900" dirty="0">
              <a:solidFill>
                <a:srgbClr val="4D4D4D"/>
              </a:solidFill>
            </a:endParaRPr>
          </a:p>
          <a:p>
            <a:endParaRPr lang="en-US" sz="900" dirty="0">
              <a:solidFill>
                <a:srgbClr val="4D4D4D"/>
              </a:solidFill>
            </a:endParaRPr>
          </a:p>
        </p:txBody>
      </p:sp>
      <p:sp>
        <p:nvSpPr>
          <p:cNvPr id="15" name="Warsaw"/>
          <p:cNvSpPr txBox="1">
            <a:spLocks noChangeArrowheads="1"/>
          </p:cNvSpPr>
          <p:nvPr userDrawn="1">
            <p:custDataLst>
              <p:tags r:id="rId11"/>
            </p:custDataLst>
          </p:nvPr>
        </p:nvSpPr>
        <p:spPr bwMode="gray">
          <a:xfrm rot="-5400000">
            <a:off x="9725883" y="4229753"/>
            <a:ext cx="4559300" cy="25198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anchor="b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CA" sz="700" dirty="0">
                <a:solidFill>
                  <a:srgbClr val="808080"/>
                </a:solidFill>
                <a:cs typeface="Arial" pitchFamily="34" charset="0"/>
              </a:rPr>
              <a:t>All rights reserved.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2" t="6963" r="9262" b="6448"/>
          <a:stretch/>
        </p:blipFill>
        <p:spPr>
          <a:xfrm>
            <a:off x="10850827" y="108222"/>
            <a:ext cx="1195479" cy="575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689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74" r:id="rId1"/>
    <p:sldLayoutId id="2147485475" r:id="rId2"/>
    <p:sldLayoutId id="2147485476" r:id="rId3"/>
    <p:sldLayoutId id="2147485477" r:id="rId4"/>
    <p:sldLayoutId id="2147485478" r:id="rId5"/>
    <p:sldLayoutId id="2147485479" r:id="rId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4D4D4D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i="0" kern="1200">
          <a:solidFill>
            <a:srgbClr val="4D4D4D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rgbClr val="273D47"/>
        </a:buClr>
        <a:buFont typeface="Arial" pitchFamily="34" charset="0"/>
        <a:buChar char="•"/>
        <a:defRPr sz="1600" kern="1200">
          <a:solidFill>
            <a:srgbClr val="4D4D4D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rgbClr val="273D47"/>
        </a:buClr>
        <a:buFont typeface="Arial" pitchFamily="34" charset="0"/>
        <a:buChar char="–"/>
        <a:defRPr sz="1600" kern="1200">
          <a:solidFill>
            <a:srgbClr val="4D4D4D"/>
          </a:solidFill>
          <a:latin typeface="+mn-lt"/>
          <a:ea typeface="+mn-ea"/>
          <a:cs typeface="+mn-cs"/>
        </a:defRPr>
      </a:lvl3pPr>
      <a:lvl4pPr marL="1375200" indent="-233362" algn="l" defTabSz="914400" rtl="0" eaLnBrk="1" latinLnBrk="0" hangingPunct="1">
        <a:spcBef>
          <a:spcPts val="384"/>
        </a:spcBef>
        <a:buClr>
          <a:srgbClr val="273D47"/>
        </a:buClr>
        <a:buFont typeface="Arial" pitchFamily="34" charset="0"/>
        <a:buChar char="–"/>
        <a:defRPr sz="1600" kern="1200">
          <a:solidFill>
            <a:srgbClr val="4D4D4D"/>
          </a:solidFill>
          <a:latin typeface="+mn-lt"/>
          <a:ea typeface="+mn-ea"/>
          <a:cs typeface="+mn-cs"/>
        </a:defRPr>
      </a:lvl4pPr>
      <a:lvl5pPr marL="2059200" indent="-230188" algn="l" defTabSz="914400" rtl="0" eaLnBrk="1" latinLnBrk="0" hangingPunct="1">
        <a:spcBef>
          <a:spcPts val="384"/>
        </a:spcBef>
        <a:buClr>
          <a:srgbClr val="273D47"/>
        </a:buClr>
        <a:buFont typeface="Arial" pitchFamily="34" charset="0"/>
        <a:buChar char="–"/>
        <a:defRPr sz="1600" kern="1200">
          <a:solidFill>
            <a:srgbClr val="4D4D4D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04" name="think-cell Slide" r:id="rId69" imgW="270" imgH="270" progId="TCLayout.ActiveDocument.1">
                  <p:embed/>
                </p:oleObj>
              </mc:Choice>
              <mc:Fallback>
                <p:oleObj name="think-cell Slide" r:id="rId6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3560113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81" r:id="rId1"/>
    <p:sldLayoutId id="2147485482" r:id="rId2"/>
    <p:sldLayoutId id="2147485483" r:id="rId3"/>
    <p:sldLayoutId id="2147485484" r:id="rId4"/>
    <p:sldLayoutId id="2147485485" r:id="rId5"/>
    <p:sldLayoutId id="2147485486" r:id="rId6"/>
    <p:sldLayoutId id="2147485487" r:id="rId7"/>
    <p:sldLayoutId id="2147485488" r:id="rId8"/>
    <p:sldLayoutId id="2147485489" r:id="rId9"/>
    <p:sldLayoutId id="2147485490" r:id="rId10"/>
    <p:sldLayoutId id="2147485491" r:id="rId11"/>
    <p:sldLayoutId id="2147485492" r:id="rId12"/>
    <p:sldLayoutId id="2147485493" r:id="rId13"/>
    <p:sldLayoutId id="2147485494" r:id="rId14"/>
    <p:sldLayoutId id="2147485495" r:id="rId15"/>
    <p:sldLayoutId id="2147485496" r:id="rId16"/>
    <p:sldLayoutId id="2147485497" r:id="rId17"/>
    <p:sldLayoutId id="2147485498" r:id="rId18"/>
    <p:sldLayoutId id="2147485499" r:id="rId19"/>
    <p:sldLayoutId id="2147485500" r:id="rId20"/>
    <p:sldLayoutId id="2147485501" r:id="rId21"/>
    <p:sldLayoutId id="2147485502" r:id="rId22"/>
    <p:sldLayoutId id="2147485503" r:id="rId23"/>
    <p:sldLayoutId id="2147485504" r:id="rId24"/>
    <p:sldLayoutId id="2147485505" r:id="rId25"/>
    <p:sldLayoutId id="2147485506" r:id="rId26"/>
    <p:sldLayoutId id="2147485507" r:id="rId27"/>
    <p:sldLayoutId id="2147485508" r:id="rId28"/>
    <p:sldLayoutId id="2147485509" r:id="rId29"/>
    <p:sldLayoutId id="2147485510" r:id="rId30"/>
    <p:sldLayoutId id="2147485511" r:id="rId31"/>
    <p:sldLayoutId id="2147485512" r:id="rId32"/>
    <p:sldLayoutId id="2147485513" r:id="rId33"/>
    <p:sldLayoutId id="2147485514" r:id="rId34"/>
    <p:sldLayoutId id="2147485515" r:id="rId35"/>
    <p:sldLayoutId id="2147485516" r:id="rId36"/>
    <p:sldLayoutId id="2147485517" r:id="rId37"/>
    <p:sldLayoutId id="2147485518" r:id="rId38"/>
    <p:sldLayoutId id="2147485519" r:id="rId39"/>
    <p:sldLayoutId id="2147485520" r:id="rId40"/>
    <p:sldLayoutId id="2147485521" r:id="rId41"/>
    <p:sldLayoutId id="2147485522" r:id="rId42"/>
    <p:sldLayoutId id="2147485523" r:id="rId43"/>
    <p:sldLayoutId id="2147485524" r:id="rId44"/>
    <p:sldLayoutId id="2147485525" r:id="rId45"/>
    <p:sldLayoutId id="2147485526" r:id="rId46"/>
    <p:sldLayoutId id="2147485527" r:id="rId47"/>
    <p:sldLayoutId id="2147485528" r:id="rId48"/>
    <p:sldLayoutId id="2147485529" r:id="rId49"/>
    <p:sldLayoutId id="2147485530" r:id="rId50"/>
    <p:sldLayoutId id="2147485531" r:id="rId51"/>
    <p:sldLayoutId id="2147485532" r:id="rId52"/>
    <p:sldLayoutId id="2147485533" r:id="rId53"/>
    <p:sldLayoutId id="2147485534" r:id="rId54"/>
    <p:sldLayoutId id="2147485535" r:id="rId55"/>
    <p:sldLayoutId id="2147485536" r:id="rId56"/>
    <p:sldLayoutId id="2147485537" r:id="rId57"/>
    <p:sldLayoutId id="2147485538" r:id="rId58"/>
    <p:sldLayoutId id="2147485539" r:id="rId59"/>
    <p:sldLayoutId id="2147485540" r:id="rId60"/>
    <p:sldLayoutId id="2147485541" r:id="rId61"/>
    <p:sldLayoutId id="2147485542" r:id="rId62"/>
    <p:sldLayoutId id="2147485543" r:id="rId63"/>
    <p:sldLayoutId id="2147485544" r:id="rId64"/>
    <p:sldLayoutId id="2147485545" r:id="rId6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5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image" Target="../media/image42.png"/><Relationship Id="rId117" Type="http://schemas.openxmlformats.org/officeDocument/2006/relationships/image" Target="../media/image133.png"/><Relationship Id="rId21" Type="http://schemas.openxmlformats.org/officeDocument/2006/relationships/image" Target="../media/image37.png"/><Relationship Id="rId42" Type="http://schemas.openxmlformats.org/officeDocument/2006/relationships/image" Target="../media/image58.png"/><Relationship Id="rId47" Type="http://schemas.openxmlformats.org/officeDocument/2006/relationships/image" Target="../media/image63.png"/><Relationship Id="rId63" Type="http://schemas.openxmlformats.org/officeDocument/2006/relationships/image" Target="../media/image79.jpeg"/><Relationship Id="rId68" Type="http://schemas.openxmlformats.org/officeDocument/2006/relationships/image" Target="../media/image84.png"/><Relationship Id="rId84" Type="http://schemas.openxmlformats.org/officeDocument/2006/relationships/image" Target="../media/image100.png"/><Relationship Id="rId89" Type="http://schemas.openxmlformats.org/officeDocument/2006/relationships/image" Target="../media/image105.png"/><Relationship Id="rId112" Type="http://schemas.openxmlformats.org/officeDocument/2006/relationships/image" Target="../media/image128.jpeg"/><Relationship Id="rId16" Type="http://schemas.openxmlformats.org/officeDocument/2006/relationships/image" Target="../media/image32.png"/><Relationship Id="rId107" Type="http://schemas.openxmlformats.org/officeDocument/2006/relationships/image" Target="../media/image123.png"/><Relationship Id="rId11" Type="http://schemas.openxmlformats.org/officeDocument/2006/relationships/image" Target="../media/image27.png"/><Relationship Id="rId24" Type="http://schemas.openxmlformats.org/officeDocument/2006/relationships/image" Target="../media/image40.png"/><Relationship Id="rId32" Type="http://schemas.openxmlformats.org/officeDocument/2006/relationships/image" Target="../media/image48.png"/><Relationship Id="rId37" Type="http://schemas.openxmlformats.org/officeDocument/2006/relationships/image" Target="../media/image53.png"/><Relationship Id="rId40" Type="http://schemas.openxmlformats.org/officeDocument/2006/relationships/image" Target="../media/image56.png"/><Relationship Id="rId45" Type="http://schemas.openxmlformats.org/officeDocument/2006/relationships/image" Target="../media/image61.jpeg"/><Relationship Id="rId53" Type="http://schemas.openxmlformats.org/officeDocument/2006/relationships/image" Target="../media/image69.png"/><Relationship Id="rId58" Type="http://schemas.openxmlformats.org/officeDocument/2006/relationships/image" Target="../media/image74.jpeg"/><Relationship Id="rId66" Type="http://schemas.openxmlformats.org/officeDocument/2006/relationships/image" Target="../media/image82.png"/><Relationship Id="rId74" Type="http://schemas.openxmlformats.org/officeDocument/2006/relationships/image" Target="../media/image90.png"/><Relationship Id="rId79" Type="http://schemas.openxmlformats.org/officeDocument/2006/relationships/image" Target="../media/image95.png"/><Relationship Id="rId87" Type="http://schemas.openxmlformats.org/officeDocument/2006/relationships/image" Target="../media/image103.png"/><Relationship Id="rId102" Type="http://schemas.openxmlformats.org/officeDocument/2006/relationships/image" Target="../media/image118.png"/><Relationship Id="rId110" Type="http://schemas.openxmlformats.org/officeDocument/2006/relationships/image" Target="../media/image126.png"/><Relationship Id="rId115" Type="http://schemas.openxmlformats.org/officeDocument/2006/relationships/image" Target="../media/image131.png"/><Relationship Id="rId5" Type="http://schemas.openxmlformats.org/officeDocument/2006/relationships/image" Target="../media/image21.jpeg"/><Relationship Id="rId61" Type="http://schemas.openxmlformats.org/officeDocument/2006/relationships/image" Target="../media/image77.png"/><Relationship Id="rId82" Type="http://schemas.openxmlformats.org/officeDocument/2006/relationships/image" Target="../media/image98.png"/><Relationship Id="rId90" Type="http://schemas.openxmlformats.org/officeDocument/2006/relationships/image" Target="../media/image106.jpeg"/><Relationship Id="rId95" Type="http://schemas.openxmlformats.org/officeDocument/2006/relationships/image" Target="../media/image111.png"/><Relationship Id="rId19" Type="http://schemas.openxmlformats.org/officeDocument/2006/relationships/image" Target="../media/image35.png"/><Relationship Id="rId14" Type="http://schemas.openxmlformats.org/officeDocument/2006/relationships/image" Target="../media/image30.jpeg"/><Relationship Id="rId22" Type="http://schemas.openxmlformats.org/officeDocument/2006/relationships/image" Target="../media/image38.png"/><Relationship Id="rId27" Type="http://schemas.openxmlformats.org/officeDocument/2006/relationships/image" Target="../media/image43.png"/><Relationship Id="rId30" Type="http://schemas.openxmlformats.org/officeDocument/2006/relationships/image" Target="../media/image46.png"/><Relationship Id="rId35" Type="http://schemas.openxmlformats.org/officeDocument/2006/relationships/image" Target="../media/image51.png"/><Relationship Id="rId43" Type="http://schemas.openxmlformats.org/officeDocument/2006/relationships/image" Target="../media/image59.png"/><Relationship Id="rId48" Type="http://schemas.openxmlformats.org/officeDocument/2006/relationships/image" Target="../media/image64.png"/><Relationship Id="rId56" Type="http://schemas.openxmlformats.org/officeDocument/2006/relationships/image" Target="../media/image72.png"/><Relationship Id="rId64" Type="http://schemas.openxmlformats.org/officeDocument/2006/relationships/image" Target="../media/image80.jpeg"/><Relationship Id="rId69" Type="http://schemas.openxmlformats.org/officeDocument/2006/relationships/image" Target="../media/image85.png"/><Relationship Id="rId77" Type="http://schemas.openxmlformats.org/officeDocument/2006/relationships/image" Target="../media/image93.png"/><Relationship Id="rId100" Type="http://schemas.openxmlformats.org/officeDocument/2006/relationships/image" Target="../media/image116.png"/><Relationship Id="rId105" Type="http://schemas.openxmlformats.org/officeDocument/2006/relationships/image" Target="../media/image121.png"/><Relationship Id="rId113" Type="http://schemas.openxmlformats.org/officeDocument/2006/relationships/image" Target="../media/image129.png"/><Relationship Id="rId118" Type="http://schemas.openxmlformats.org/officeDocument/2006/relationships/image" Target="../media/image134.png"/><Relationship Id="rId8" Type="http://schemas.openxmlformats.org/officeDocument/2006/relationships/image" Target="../media/image24.png"/><Relationship Id="rId51" Type="http://schemas.openxmlformats.org/officeDocument/2006/relationships/image" Target="../media/image67.jpeg"/><Relationship Id="rId72" Type="http://schemas.openxmlformats.org/officeDocument/2006/relationships/image" Target="../media/image88.png"/><Relationship Id="rId80" Type="http://schemas.openxmlformats.org/officeDocument/2006/relationships/image" Target="../media/image96.png"/><Relationship Id="rId85" Type="http://schemas.openxmlformats.org/officeDocument/2006/relationships/image" Target="../media/image101.jpeg"/><Relationship Id="rId93" Type="http://schemas.openxmlformats.org/officeDocument/2006/relationships/image" Target="../media/image109.png"/><Relationship Id="rId98" Type="http://schemas.openxmlformats.org/officeDocument/2006/relationships/image" Target="../media/image114.png"/><Relationship Id="rId3" Type="http://schemas.openxmlformats.org/officeDocument/2006/relationships/image" Target="../media/image19.png"/><Relationship Id="rId12" Type="http://schemas.openxmlformats.org/officeDocument/2006/relationships/image" Target="../media/image28.png"/><Relationship Id="rId17" Type="http://schemas.openxmlformats.org/officeDocument/2006/relationships/image" Target="../media/image33.jpeg"/><Relationship Id="rId25" Type="http://schemas.openxmlformats.org/officeDocument/2006/relationships/image" Target="../media/image41.png"/><Relationship Id="rId33" Type="http://schemas.openxmlformats.org/officeDocument/2006/relationships/image" Target="../media/image49.png"/><Relationship Id="rId38" Type="http://schemas.openxmlformats.org/officeDocument/2006/relationships/image" Target="../media/image54.jpeg"/><Relationship Id="rId46" Type="http://schemas.openxmlformats.org/officeDocument/2006/relationships/image" Target="../media/image62.png"/><Relationship Id="rId59" Type="http://schemas.openxmlformats.org/officeDocument/2006/relationships/image" Target="../media/image75.png"/><Relationship Id="rId67" Type="http://schemas.openxmlformats.org/officeDocument/2006/relationships/image" Target="../media/image83.png"/><Relationship Id="rId103" Type="http://schemas.openxmlformats.org/officeDocument/2006/relationships/image" Target="../media/image119.jpeg"/><Relationship Id="rId108" Type="http://schemas.openxmlformats.org/officeDocument/2006/relationships/image" Target="../media/image124.jpeg"/><Relationship Id="rId116" Type="http://schemas.openxmlformats.org/officeDocument/2006/relationships/image" Target="../media/image132.png"/><Relationship Id="rId20" Type="http://schemas.openxmlformats.org/officeDocument/2006/relationships/image" Target="../media/image36.png"/><Relationship Id="rId41" Type="http://schemas.openxmlformats.org/officeDocument/2006/relationships/image" Target="../media/image57.png"/><Relationship Id="rId54" Type="http://schemas.openxmlformats.org/officeDocument/2006/relationships/image" Target="../media/image70.jpeg"/><Relationship Id="rId62" Type="http://schemas.openxmlformats.org/officeDocument/2006/relationships/image" Target="../media/image78.jpeg"/><Relationship Id="rId70" Type="http://schemas.openxmlformats.org/officeDocument/2006/relationships/image" Target="../media/image86.png"/><Relationship Id="rId75" Type="http://schemas.openxmlformats.org/officeDocument/2006/relationships/image" Target="../media/image91.png"/><Relationship Id="rId83" Type="http://schemas.openxmlformats.org/officeDocument/2006/relationships/image" Target="../media/image99.jpeg"/><Relationship Id="rId88" Type="http://schemas.openxmlformats.org/officeDocument/2006/relationships/image" Target="../media/image104.jpeg"/><Relationship Id="rId91" Type="http://schemas.openxmlformats.org/officeDocument/2006/relationships/image" Target="../media/image107.png"/><Relationship Id="rId96" Type="http://schemas.openxmlformats.org/officeDocument/2006/relationships/image" Target="../media/image112.png"/><Relationship Id="rId111" Type="http://schemas.openxmlformats.org/officeDocument/2006/relationships/image" Target="../media/image127.jpeg"/><Relationship Id="rId1" Type="http://schemas.openxmlformats.org/officeDocument/2006/relationships/slideLayout" Target="../slideLayouts/slideLayout345.xml"/><Relationship Id="rId6" Type="http://schemas.openxmlformats.org/officeDocument/2006/relationships/image" Target="../media/image22.png"/><Relationship Id="rId15" Type="http://schemas.openxmlformats.org/officeDocument/2006/relationships/image" Target="../media/image31.jpeg"/><Relationship Id="rId23" Type="http://schemas.openxmlformats.org/officeDocument/2006/relationships/image" Target="../media/image39.png"/><Relationship Id="rId28" Type="http://schemas.openxmlformats.org/officeDocument/2006/relationships/image" Target="../media/image44.png"/><Relationship Id="rId36" Type="http://schemas.openxmlformats.org/officeDocument/2006/relationships/image" Target="../media/image52.png"/><Relationship Id="rId49" Type="http://schemas.openxmlformats.org/officeDocument/2006/relationships/image" Target="../media/image65.png"/><Relationship Id="rId57" Type="http://schemas.openxmlformats.org/officeDocument/2006/relationships/image" Target="../media/image73.png"/><Relationship Id="rId106" Type="http://schemas.openxmlformats.org/officeDocument/2006/relationships/image" Target="../media/image122.png"/><Relationship Id="rId114" Type="http://schemas.openxmlformats.org/officeDocument/2006/relationships/image" Target="../media/image130.png"/><Relationship Id="rId119" Type="http://schemas.openxmlformats.org/officeDocument/2006/relationships/image" Target="../media/image135.png"/><Relationship Id="rId10" Type="http://schemas.openxmlformats.org/officeDocument/2006/relationships/image" Target="../media/image26.png"/><Relationship Id="rId31" Type="http://schemas.openxmlformats.org/officeDocument/2006/relationships/image" Target="../media/image47.jpeg"/><Relationship Id="rId44" Type="http://schemas.openxmlformats.org/officeDocument/2006/relationships/image" Target="../media/image60.png"/><Relationship Id="rId52" Type="http://schemas.openxmlformats.org/officeDocument/2006/relationships/image" Target="../media/image68.png"/><Relationship Id="rId60" Type="http://schemas.openxmlformats.org/officeDocument/2006/relationships/image" Target="../media/image76.png"/><Relationship Id="rId65" Type="http://schemas.openxmlformats.org/officeDocument/2006/relationships/image" Target="../media/image81.png"/><Relationship Id="rId73" Type="http://schemas.openxmlformats.org/officeDocument/2006/relationships/image" Target="../media/image89.png"/><Relationship Id="rId78" Type="http://schemas.openxmlformats.org/officeDocument/2006/relationships/image" Target="../media/image94.png"/><Relationship Id="rId81" Type="http://schemas.openxmlformats.org/officeDocument/2006/relationships/image" Target="../media/image97.png"/><Relationship Id="rId86" Type="http://schemas.openxmlformats.org/officeDocument/2006/relationships/image" Target="../media/image102.png"/><Relationship Id="rId94" Type="http://schemas.openxmlformats.org/officeDocument/2006/relationships/image" Target="../media/image110.jpeg"/><Relationship Id="rId99" Type="http://schemas.openxmlformats.org/officeDocument/2006/relationships/image" Target="../media/image115.jpeg"/><Relationship Id="rId101" Type="http://schemas.openxmlformats.org/officeDocument/2006/relationships/image" Target="../media/image117.gif"/><Relationship Id="rId4" Type="http://schemas.openxmlformats.org/officeDocument/2006/relationships/image" Target="../media/image20.png"/><Relationship Id="rId9" Type="http://schemas.openxmlformats.org/officeDocument/2006/relationships/image" Target="../media/image25.png"/><Relationship Id="rId13" Type="http://schemas.openxmlformats.org/officeDocument/2006/relationships/image" Target="../media/image29.png"/><Relationship Id="rId18" Type="http://schemas.openxmlformats.org/officeDocument/2006/relationships/image" Target="../media/image34.png"/><Relationship Id="rId39" Type="http://schemas.openxmlformats.org/officeDocument/2006/relationships/image" Target="../media/image55.png"/><Relationship Id="rId109" Type="http://schemas.openxmlformats.org/officeDocument/2006/relationships/image" Target="../media/image125.jpeg"/><Relationship Id="rId34" Type="http://schemas.openxmlformats.org/officeDocument/2006/relationships/image" Target="../media/image50.png"/><Relationship Id="rId50" Type="http://schemas.openxmlformats.org/officeDocument/2006/relationships/image" Target="../media/image66.jpeg"/><Relationship Id="rId55" Type="http://schemas.openxmlformats.org/officeDocument/2006/relationships/image" Target="../media/image71.png"/><Relationship Id="rId76" Type="http://schemas.openxmlformats.org/officeDocument/2006/relationships/image" Target="../media/image92.png"/><Relationship Id="rId97" Type="http://schemas.openxmlformats.org/officeDocument/2006/relationships/image" Target="../media/image113.jpeg"/><Relationship Id="rId104" Type="http://schemas.openxmlformats.org/officeDocument/2006/relationships/image" Target="../media/image120.jpeg"/><Relationship Id="rId120" Type="http://schemas.openxmlformats.org/officeDocument/2006/relationships/image" Target="../media/image136.png"/><Relationship Id="rId7" Type="http://schemas.openxmlformats.org/officeDocument/2006/relationships/image" Target="../media/image23.png"/><Relationship Id="rId71" Type="http://schemas.openxmlformats.org/officeDocument/2006/relationships/image" Target="../media/image87.png"/><Relationship Id="rId92" Type="http://schemas.openxmlformats.org/officeDocument/2006/relationships/image" Target="../media/image108.png"/><Relationship Id="rId2" Type="http://schemas.openxmlformats.org/officeDocument/2006/relationships/notesSlide" Target="../notesSlides/notesSlide1.xml"/><Relationship Id="rId29" Type="http://schemas.openxmlformats.org/officeDocument/2006/relationships/image" Target="../media/image4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9.jpeg"/><Relationship Id="rId3" Type="http://schemas.openxmlformats.org/officeDocument/2006/relationships/slideLayout" Target="../slideLayouts/slideLayout347.xml"/><Relationship Id="rId7" Type="http://schemas.openxmlformats.org/officeDocument/2006/relationships/image" Target="../media/image138.jpeg"/><Relationship Id="rId2" Type="http://schemas.openxmlformats.org/officeDocument/2006/relationships/tags" Target="../tags/tag603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137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17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Innovation Supercluster Initiative</a:t>
            </a:r>
          </a:p>
        </p:txBody>
      </p:sp>
      <p:sp>
        <p:nvSpPr>
          <p:cNvPr id="3" name="TextColumnContent"/>
          <p:cNvSpPr>
            <a:spLocks noChangeArrowheads="1"/>
          </p:cNvSpPr>
          <p:nvPr/>
        </p:nvSpPr>
        <p:spPr bwMode="gray">
          <a:xfrm>
            <a:off x="509411" y="2074098"/>
            <a:ext cx="2909778" cy="351677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tIns="91440" rIns="0" bIns="91440" anchor="ctr" anchorCtr="0"/>
          <a:lstStyle/>
          <a:p>
            <a:pPr hangingPunct="1">
              <a:spcBef>
                <a:spcPts val="600"/>
              </a:spcBef>
            </a:pPr>
            <a:r>
              <a:rPr lang="en-US" sz="1400" b="1" kern="1200" dirty="0" smtClean="0">
                <a:solidFill>
                  <a:srgbClr val="4D4D4D"/>
                </a:solidFill>
                <a:ea typeface="+mn-ea"/>
                <a:cs typeface="+mn-cs"/>
              </a:rPr>
              <a:t>$1B federal government funding over 5 years </a:t>
            </a:r>
          </a:p>
          <a:p>
            <a:pPr hangingPunct="1">
              <a:spcBef>
                <a:spcPts val="600"/>
              </a:spcBef>
            </a:pPr>
            <a:endParaRPr lang="en-US" sz="1400" b="1" kern="1200" dirty="0">
              <a:solidFill>
                <a:srgbClr val="4D4D4D"/>
              </a:solidFill>
              <a:ea typeface="+mn-ea"/>
              <a:cs typeface="+mn-cs"/>
            </a:endParaRPr>
          </a:p>
          <a:p>
            <a:pPr hangingPunct="1">
              <a:spcBef>
                <a:spcPts val="600"/>
              </a:spcBef>
            </a:pPr>
            <a:r>
              <a:rPr lang="en-US" sz="1400" b="1" kern="1200" dirty="0" smtClean="0">
                <a:solidFill>
                  <a:srgbClr val="4D4D4D"/>
                </a:solidFill>
                <a:ea typeface="+mn-ea"/>
                <a:cs typeface="+mn-cs"/>
              </a:rPr>
              <a:t>5 collaborative and industry-led superclusters</a:t>
            </a:r>
          </a:p>
          <a:p>
            <a:pPr hangingPunct="1">
              <a:spcBef>
                <a:spcPts val="600"/>
              </a:spcBef>
            </a:pPr>
            <a:endParaRPr lang="en-US" sz="1400" b="1" kern="1200" dirty="0">
              <a:solidFill>
                <a:srgbClr val="4D4D4D"/>
              </a:solidFill>
              <a:ea typeface="+mn-ea"/>
              <a:cs typeface="+mn-cs"/>
            </a:endParaRPr>
          </a:p>
          <a:p>
            <a:pPr hangingPunct="1">
              <a:spcBef>
                <a:spcPts val="600"/>
              </a:spcBef>
            </a:pPr>
            <a:r>
              <a:rPr lang="en-US" sz="1400" b="1" kern="1200" dirty="0" smtClean="0">
                <a:solidFill>
                  <a:srgbClr val="4D4D4D"/>
                </a:solidFill>
                <a:ea typeface="+mn-ea"/>
                <a:cs typeface="+mn-cs"/>
              </a:rPr>
              <a:t>Based on technology leadership, new approach to collaboration</a:t>
            </a:r>
          </a:p>
          <a:p>
            <a:pPr hangingPunct="1">
              <a:spcBef>
                <a:spcPts val="600"/>
              </a:spcBef>
            </a:pPr>
            <a:endParaRPr lang="en-US" sz="1400" b="1" kern="1200" dirty="0">
              <a:solidFill>
                <a:srgbClr val="4D4D4D"/>
              </a:solidFill>
              <a:ea typeface="+mn-ea"/>
              <a:cs typeface="+mn-cs"/>
            </a:endParaRPr>
          </a:p>
          <a:p>
            <a:pPr hangingPunct="1">
              <a:spcBef>
                <a:spcPts val="600"/>
              </a:spcBef>
            </a:pPr>
            <a:r>
              <a:rPr lang="en-US" sz="1400" b="1" kern="1200" dirty="0" smtClean="0">
                <a:solidFill>
                  <a:srgbClr val="4D4D4D"/>
                </a:solidFill>
                <a:ea typeface="+mn-ea"/>
                <a:cs typeface="+mn-cs"/>
              </a:rPr>
              <a:t>Aimed at developing ecosystem and drive economic output</a:t>
            </a:r>
          </a:p>
          <a:p>
            <a:pPr hangingPunct="1">
              <a:spcBef>
                <a:spcPts val="600"/>
              </a:spcBef>
            </a:pPr>
            <a:endParaRPr lang="en-US" sz="1400" b="1" kern="1200" dirty="0">
              <a:solidFill>
                <a:srgbClr val="4D4D4D"/>
              </a:solidFill>
              <a:ea typeface="+mn-ea"/>
              <a:cs typeface="+mn-cs"/>
            </a:endParaRPr>
          </a:p>
          <a:p>
            <a:pPr hangingPunct="1">
              <a:spcBef>
                <a:spcPts val="600"/>
              </a:spcBef>
            </a:pPr>
            <a:r>
              <a:rPr lang="en-US" sz="1400" b="1" kern="1200" dirty="0" smtClean="0">
                <a:solidFill>
                  <a:srgbClr val="4D4D4D"/>
                </a:solidFill>
                <a:ea typeface="+mn-ea"/>
                <a:cs typeface="+mn-cs"/>
              </a:rPr>
              <a:t>~60 applications received, final selection of the 5 in Feb. 2018</a:t>
            </a:r>
          </a:p>
        </p:txBody>
      </p:sp>
      <p:sp>
        <p:nvSpPr>
          <p:cNvPr id="10" name="Freeform 451"/>
          <p:cNvSpPr>
            <a:spLocks/>
          </p:cNvSpPr>
          <p:nvPr/>
        </p:nvSpPr>
        <p:spPr bwMode="gray">
          <a:xfrm>
            <a:off x="4175781" y="2960194"/>
            <a:ext cx="506708" cy="779697"/>
          </a:xfrm>
          <a:custGeom>
            <a:avLst/>
            <a:gdLst>
              <a:gd name="T0" fmla="*/ 326 w 1315"/>
              <a:gd name="T1" fmla="*/ 488 h 2004"/>
              <a:gd name="T2" fmla="*/ 325 w 1315"/>
              <a:gd name="T3" fmla="*/ 469 h 2004"/>
              <a:gd name="T4" fmla="*/ 326 w 1315"/>
              <a:gd name="T5" fmla="*/ 458 h 2004"/>
              <a:gd name="T6" fmla="*/ 320 w 1315"/>
              <a:gd name="T7" fmla="*/ 458 h 2004"/>
              <a:gd name="T8" fmla="*/ 309 w 1315"/>
              <a:gd name="T9" fmla="*/ 457 h 2004"/>
              <a:gd name="T10" fmla="*/ 281 w 1315"/>
              <a:gd name="T11" fmla="*/ 444 h 2004"/>
              <a:gd name="T12" fmla="*/ 286 w 1315"/>
              <a:gd name="T13" fmla="*/ 426 h 2004"/>
              <a:gd name="T14" fmla="*/ 285 w 1315"/>
              <a:gd name="T15" fmla="*/ 415 h 2004"/>
              <a:gd name="T16" fmla="*/ 276 w 1315"/>
              <a:gd name="T17" fmla="*/ 408 h 2004"/>
              <a:gd name="T18" fmla="*/ 276 w 1315"/>
              <a:gd name="T19" fmla="*/ 392 h 2004"/>
              <a:gd name="T20" fmla="*/ 272 w 1315"/>
              <a:gd name="T21" fmla="*/ 380 h 2004"/>
              <a:gd name="T22" fmla="*/ 260 w 1315"/>
              <a:gd name="T23" fmla="*/ 374 h 2004"/>
              <a:gd name="T24" fmla="*/ 261 w 1315"/>
              <a:gd name="T25" fmla="*/ 367 h 2004"/>
              <a:gd name="T26" fmla="*/ 266 w 1315"/>
              <a:gd name="T27" fmla="*/ 363 h 2004"/>
              <a:gd name="T28" fmla="*/ 264 w 1315"/>
              <a:gd name="T29" fmla="*/ 352 h 2004"/>
              <a:gd name="T30" fmla="*/ 266 w 1315"/>
              <a:gd name="T31" fmla="*/ 340 h 2004"/>
              <a:gd name="T32" fmla="*/ 268 w 1315"/>
              <a:gd name="T33" fmla="*/ 325 h 2004"/>
              <a:gd name="T34" fmla="*/ 273 w 1315"/>
              <a:gd name="T35" fmla="*/ 318 h 2004"/>
              <a:gd name="T36" fmla="*/ 275 w 1315"/>
              <a:gd name="T37" fmla="*/ 308 h 2004"/>
              <a:gd name="T38" fmla="*/ 274 w 1315"/>
              <a:gd name="T39" fmla="*/ 298 h 2004"/>
              <a:gd name="T40" fmla="*/ 268 w 1315"/>
              <a:gd name="T41" fmla="*/ 294 h 2004"/>
              <a:gd name="T42" fmla="*/ 272 w 1315"/>
              <a:gd name="T43" fmla="*/ 284 h 2004"/>
              <a:gd name="T44" fmla="*/ 271 w 1315"/>
              <a:gd name="T45" fmla="*/ 274 h 2004"/>
              <a:gd name="T46" fmla="*/ 264 w 1315"/>
              <a:gd name="T47" fmla="*/ 268 h 2004"/>
              <a:gd name="T48" fmla="*/ 263 w 1315"/>
              <a:gd name="T49" fmla="*/ 255 h 2004"/>
              <a:gd name="T50" fmla="*/ 258 w 1315"/>
              <a:gd name="T51" fmla="*/ 247 h 2004"/>
              <a:gd name="T52" fmla="*/ 262 w 1315"/>
              <a:gd name="T53" fmla="*/ 242 h 2004"/>
              <a:gd name="T54" fmla="*/ 265 w 1315"/>
              <a:gd name="T55" fmla="*/ 237 h 2004"/>
              <a:gd name="T56" fmla="*/ 263 w 1315"/>
              <a:gd name="T57" fmla="*/ 232 h 2004"/>
              <a:gd name="T58" fmla="*/ 265 w 1315"/>
              <a:gd name="T59" fmla="*/ 226 h 2004"/>
              <a:gd name="T60" fmla="*/ 277 w 1315"/>
              <a:gd name="T61" fmla="*/ 220 h 2004"/>
              <a:gd name="T62" fmla="*/ 280 w 1315"/>
              <a:gd name="T63" fmla="*/ 206 h 2004"/>
              <a:gd name="T64" fmla="*/ 282 w 1315"/>
              <a:gd name="T65" fmla="*/ 201 h 2004"/>
              <a:gd name="T66" fmla="*/ 276 w 1315"/>
              <a:gd name="T67" fmla="*/ 196 h 2004"/>
              <a:gd name="T68" fmla="*/ 270 w 1315"/>
              <a:gd name="T69" fmla="*/ 195 h 2004"/>
              <a:gd name="T70" fmla="*/ 269 w 1315"/>
              <a:gd name="T71" fmla="*/ 185 h 2004"/>
              <a:gd name="T72" fmla="*/ 279 w 1315"/>
              <a:gd name="T73" fmla="*/ 168 h 2004"/>
              <a:gd name="T74" fmla="*/ 281 w 1315"/>
              <a:gd name="T75" fmla="*/ 156 h 2004"/>
              <a:gd name="T76" fmla="*/ 267 w 1315"/>
              <a:gd name="T77" fmla="*/ 140 h 2004"/>
              <a:gd name="T78" fmla="*/ 256 w 1315"/>
              <a:gd name="T79" fmla="*/ 136 h 2004"/>
              <a:gd name="T80" fmla="*/ 289 w 1315"/>
              <a:gd name="T81" fmla="*/ 60 h 2004"/>
              <a:gd name="T82" fmla="*/ 277 w 1315"/>
              <a:gd name="T83" fmla="*/ 42 h 2004"/>
              <a:gd name="T84" fmla="*/ 276 w 1315"/>
              <a:gd name="T85" fmla="*/ 21 h 2004"/>
              <a:gd name="T86" fmla="*/ 270 w 1315"/>
              <a:gd name="T87" fmla="*/ 11 h 2004"/>
              <a:gd name="T88" fmla="*/ 257 w 1315"/>
              <a:gd name="T89" fmla="*/ 0 h 2004"/>
              <a:gd name="T90" fmla="*/ 2 w 1315"/>
              <a:gd name="T91" fmla="*/ 317 h 2004"/>
              <a:gd name="T92" fmla="*/ 12 w 1315"/>
              <a:gd name="T93" fmla="*/ 326 h 2004"/>
              <a:gd name="T94" fmla="*/ 15 w 1315"/>
              <a:gd name="T95" fmla="*/ 331 h 2004"/>
              <a:gd name="T96" fmla="*/ 30 w 1315"/>
              <a:gd name="T97" fmla="*/ 332 h 2004"/>
              <a:gd name="T98" fmla="*/ 35 w 1315"/>
              <a:gd name="T99" fmla="*/ 337 h 2004"/>
              <a:gd name="T100" fmla="*/ 31 w 1315"/>
              <a:gd name="T101" fmla="*/ 342 h 2004"/>
              <a:gd name="T102" fmla="*/ 28 w 1315"/>
              <a:gd name="T103" fmla="*/ 347 h 2004"/>
              <a:gd name="T104" fmla="*/ 33 w 1315"/>
              <a:gd name="T105" fmla="*/ 353 h 2004"/>
              <a:gd name="T106" fmla="*/ 82 w 1315"/>
              <a:gd name="T107" fmla="*/ 382 h 2004"/>
              <a:gd name="T108" fmla="*/ 211 w 1315"/>
              <a:gd name="T109" fmla="*/ 452 h 2004"/>
              <a:gd name="T110" fmla="*/ 297 w 1315"/>
              <a:gd name="T111" fmla="*/ 490 h 200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315"/>
              <a:gd name="T169" fmla="*/ 0 h 2004"/>
              <a:gd name="T170" fmla="*/ 1315 w 1315"/>
              <a:gd name="T171" fmla="*/ 2004 h 2004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315" h="2004">
                <a:moveTo>
                  <a:pt x="1311" y="2004"/>
                </a:moveTo>
                <a:lnTo>
                  <a:pt x="1315" y="2004"/>
                </a:lnTo>
                <a:lnTo>
                  <a:pt x="1305" y="1950"/>
                </a:lnTo>
                <a:lnTo>
                  <a:pt x="1294" y="1904"/>
                </a:lnTo>
                <a:lnTo>
                  <a:pt x="1297" y="1888"/>
                </a:lnTo>
                <a:lnTo>
                  <a:pt x="1301" y="1875"/>
                </a:lnTo>
                <a:lnTo>
                  <a:pt x="1305" y="1864"/>
                </a:lnTo>
                <a:lnTo>
                  <a:pt x="1307" y="1842"/>
                </a:lnTo>
                <a:lnTo>
                  <a:pt x="1307" y="1831"/>
                </a:lnTo>
                <a:lnTo>
                  <a:pt x="1307" y="1829"/>
                </a:lnTo>
                <a:lnTo>
                  <a:pt x="1305" y="1821"/>
                </a:lnTo>
                <a:lnTo>
                  <a:pt x="1282" y="1831"/>
                </a:lnTo>
                <a:lnTo>
                  <a:pt x="1263" y="1839"/>
                </a:lnTo>
                <a:lnTo>
                  <a:pt x="1251" y="1835"/>
                </a:lnTo>
                <a:lnTo>
                  <a:pt x="1236" y="1825"/>
                </a:lnTo>
                <a:lnTo>
                  <a:pt x="1224" y="1814"/>
                </a:lnTo>
                <a:lnTo>
                  <a:pt x="1209" y="1806"/>
                </a:lnTo>
                <a:lnTo>
                  <a:pt x="1127" y="1775"/>
                </a:lnTo>
                <a:lnTo>
                  <a:pt x="1130" y="1750"/>
                </a:lnTo>
                <a:lnTo>
                  <a:pt x="1138" y="1725"/>
                </a:lnTo>
                <a:lnTo>
                  <a:pt x="1146" y="1704"/>
                </a:lnTo>
                <a:lnTo>
                  <a:pt x="1146" y="1679"/>
                </a:lnTo>
                <a:lnTo>
                  <a:pt x="1146" y="1668"/>
                </a:lnTo>
                <a:lnTo>
                  <a:pt x="1142" y="1660"/>
                </a:lnTo>
                <a:lnTo>
                  <a:pt x="1127" y="1647"/>
                </a:lnTo>
                <a:lnTo>
                  <a:pt x="1111" y="1635"/>
                </a:lnTo>
                <a:lnTo>
                  <a:pt x="1107" y="1629"/>
                </a:lnTo>
                <a:lnTo>
                  <a:pt x="1104" y="1618"/>
                </a:lnTo>
                <a:lnTo>
                  <a:pt x="1104" y="1593"/>
                </a:lnTo>
                <a:lnTo>
                  <a:pt x="1104" y="1568"/>
                </a:lnTo>
                <a:lnTo>
                  <a:pt x="1100" y="1543"/>
                </a:lnTo>
                <a:lnTo>
                  <a:pt x="1096" y="1531"/>
                </a:lnTo>
                <a:lnTo>
                  <a:pt x="1088" y="1520"/>
                </a:lnTo>
                <a:lnTo>
                  <a:pt x="1077" y="1514"/>
                </a:lnTo>
                <a:lnTo>
                  <a:pt x="1065" y="1506"/>
                </a:lnTo>
                <a:lnTo>
                  <a:pt x="1040" y="1495"/>
                </a:lnTo>
                <a:lnTo>
                  <a:pt x="1040" y="1478"/>
                </a:lnTo>
                <a:lnTo>
                  <a:pt x="1040" y="1474"/>
                </a:lnTo>
                <a:lnTo>
                  <a:pt x="1044" y="1466"/>
                </a:lnTo>
                <a:lnTo>
                  <a:pt x="1056" y="1459"/>
                </a:lnTo>
                <a:lnTo>
                  <a:pt x="1061" y="1453"/>
                </a:lnTo>
                <a:lnTo>
                  <a:pt x="1065" y="1449"/>
                </a:lnTo>
                <a:lnTo>
                  <a:pt x="1065" y="1441"/>
                </a:lnTo>
                <a:lnTo>
                  <a:pt x="1061" y="1416"/>
                </a:lnTo>
                <a:lnTo>
                  <a:pt x="1057" y="1405"/>
                </a:lnTo>
                <a:lnTo>
                  <a:pt x="1057" y="1391"/>
                </a:lnTo>
                <a:lnTo>
                  <a:pt x="1057" y="1374"/>
                </a:lnTo>
                <a:lnTo>
                  <a:pt x="1065" y="1359"/>
                </a:lnTo>
                <a:lnTo>
                  <a:pt x="1073" y="1341"/>
                </a:lnTo>
                <a:lnTo>
                  <a:pt x="1073" y="1309"/>
                </a:lnTo>
                <a:lnTo>
                  <a:pt x="1073" y="1297"/>
                </a:lnTo>
                <a:lnTo>
                  <a:pt x="1077" y="1290"/>
                </a:lnTo>
                <a:lnTo>
                  <a:pt x="1084" y="1284"/>
                </a:lnTo>
                <a:lnTo>
                  <a:pt x="1092" y="1272"/>
                </a:lnTo>
                <a:lnTo>
                  <a:pt x="1096" y="1268"/>
                </a:lnTo>
                <a:lnTo>
                  <a:pt x="1096" y="1259"/>
                </a:lnTo>
                <a:lnTo>
                  <a:pt x="1100" y="1232"/>
                </a:lnTo>
                <a:lnTo>
                  <a:pt x="1104" y="1207"/>
                </a:lnTo>
                <a:lnTo>
                  <a:pt x="1100" y="1201"/>
                </a:lnTo>
                <a:lnTo>
                  <a:pt x="1096" y="1190"/>
                </a:lnTo>
                <a:lnTo>
                  <a:pt x="1088" y="1182"/>
                </a:lnTo>
                <a:lnTo>
                  <a:pt x="1077" y="1178"/>
                </a:lnTo>
                <a:lnTo>
                  <a:pt x="1073" y="1174"/>
                </a:lnTo>
                <a:lnTo>
                  <a:pt x="1073" y="1173"/>
                </a:lnTo>
                <a:lnTo>
                  <a:pt x="1077" y="1157"/>
                </a:lnTo>
                <a:lnTo>
                  <a:pt x="1088" y="1136"/>
                </a:lnTo>
                <a:lnTo>
                  <a:pt x="1092" y="1115"/>
                </a:lnTo>
                <a:lnTo>
                  <a:pt x="1088" y="1103"/>
                </a:lnTo>
                <a:lnTo>
                  <a:pt x="1084" y="1096"/>
                </a:lnTo>
                <a:lnTo>
                  <a:pt x="1073" y="1082"/>
                </a:lnTo>
                <a:lnTo>
                  <a:pt x="1057" y="1075"/>
                </a:lnTo>
                <a:lnTo>
                  <a:pt x="1056" y="1071"/>
                </a:lnTo>
                <a:lnTo>
                  <a:pt x="1056" y="1067"/>
                </a:lnTo>
                <a:lnTo>
                  <a:pt x="1056" y="1034"/>
                </a:lnTo>
                <a:lnTo>
                  <a:pt x="1052" y="1021"/>
                </a:lnTo>
                <a:lnTo>
                  <a:pt x="1044" y="1006"/>
                </a:lnTo>
                <a:lnTo>
                  <a:pt x="1036" y="996"/>
                </a:lnTo>
                <a:lnTo>
                  <a:pt x="1033" y="988"/>
                </a:lnTo>
                <a:lnTo>
                  <a:pt x="1033" y="981"/>
                </a:lnTo>
                <a:lnTo>
                  <a:pt x="1036" y="973"/>
                </a:lnTo>
                <a:lnTo>
                  <a:pt x="1048" y="967"/>
                </a:lnTo>
                <a:lnTo>
                  <a:pt x="1057" y="956"/>
                </a:lnTo>
                <a:lnTo>
                  <a:pt x="1061" y="948"/>
                </a:lnTo>
                <a:lnTo>
                  <a:pt x="1061" y="946"/>
                </a:lnTo>
                <a:lnTo>
                  <a:pt x="1061" y="938"/>
                </a:lnTo>
                <a:lnTo>
                  <a:pt x="1057" y="931"/>
                </a:lnTo>
                <a:lnTo>
                  <a:pt x="1052" y="927"/>
                </a:lnTo>
                <a:lnTo>
                  <a:pt x="1052" y="919"/>
                </a:lnTo>
                <a:lnTo>
                  <a:pt x="1056" y="910"/>
                </a:lnTo>
                <a:lnTo>
                  <a:pt x="1061" y="902"/>
                </a:lnTo>
                <a:lnTo>
                  <a:pt x="1084" y="890"/>
                </a:lnTo>
                <a:lnTo>
                  <a:pt x="1100" y="888"/>
                </a:lnTo>
                <a:lnTo>
                  <a:pt x="1111" y="877"/>
                </a:lnTo>
                <a:lnTo>
                  <a:pt x="1119" y="869"/>
                </a:lnTo>
                <a:lnTo>
                  <a:pt x="1123" y="856"/>
                </a:lnTo>
                <a:lnTo>
                  <a:pt x="1123" y="823"/>
                </a:lnTo>
                <a:lnTo>
                  <a:pt x="1130" y="819"/>
                </a:lnTo>
                <a:lnTo>
                  <a:pt x="1142" y="815"/>
                </a:lnTo>
                <a:lnTo>
                  <a:pt x="1130" y="804"/>
                </a:lnTo>
                <a:lnTo>
                  <a:pt x="1119" y="798"/>
                </a:lnTo>
                <a:lnTo>
                  <a:pt x="1107" y="791"/>
                </a:lnTo>
                <a:lnTo>
                  <a:pt x="1104" y="783"/>
                </a:lnTo>
                <a:lnTo>
                  <a:pt x="1100" y="775"/>
                </a:lnTo>
                <a:lnTo>
                  <a:pt x="1092" y="779"/>
                </a:lnTo>
                <a:lnTo>
                  <a:pt x="1080" y="779"/>
                </a:lnTo>
                <a:lnTo>
                  <a:pt x="1069" y="775"/>
                </a:lnTo>
                <a:lnTo>
                  <a:pt x="1073" y="754"/>
                </a:lnTo>
                <a:lnTo>
                  <a:pt x="1077" y="737"/>
                </a:lnTo>
                <a:lnTo>
                  <a:pt x="1100" y="708"/>
                </a:lnTo>
                <a:lnTo>
                  <a:pt x="1111" y="689"/>
                </a:lnTo>
                <a:lnTo>
                  <a:pt x="1119" y="672"/>
                </a:lnTo>
                <a:lnTo>
                  <a:pt x="1127" y="654"/>
                </a:lnTo>
                <a:lnTo>
                  <a:pt x="1130" y="631"/>
                </a:lnTo>
                <a:lnTo>
                  <a:pt x="1127" y="622"/>
                </a:lnTo>
                <a:lnTo>
                  <a:pt x="1119" y="610"/>
                </a:lnTo>
                <a:lnTo>
                  <a:pt x="1096" y="585"/>
                </a:lnTo>
                <a:lnTo>
                  <a:pt x="1069" y="560"/>
                </a:lnTo>
                <a:lnTo>
                  <a:pt x="1052" y="549"/>
                </a:lnTo>
                <a:lnTo>
                  <a:pt x="1033" y="545"/>
                </a:lnTo>
                <a:lnTo>
                  <a:pt x="1025" y="543"/>
                </a:lnTo>
                <a:lnTo>
                  <a:pt x="1021" y="531"/>
                </a:lnTo>
                <a:lnTo>
                  <a:pt x="1169" y="265"/>
                </a:lnTo>
                <a:lnTo>
                  <a:pt x="1157" y="240"/>
                </a:lnTo>
                <a:lnTo>
                  <a:pt x="1142" y="219"/>
                </a:lnTo>
                <a:lnTo>
                  <a:pt x="1123" y="194"/>
                </a:lnTo>
                <a:lnTo>
                  <a:pt x="1111" y="165"/>
                </a:lnTo>
                <a:lnTo>
                  <a:pt x="1107" y="140"/>
                </a:lnTo>
                <a:lnTo>
                  <a:pt x="1104" y="111"/>
                </a:lnTo>
                <a:lnTo>
                  <a:pt x="1104" y="82"/>
                </a:lnTo>
                <a:lnTo>
                  <a:pt x="1100" y="71"/>
                </a:lnTo>
                <a:lnTo>
                  <a:pt x="1096" y="59"/>
                </a:lnTo>
                <a:lnTo>
                  <a:pt x="1080" y="42"/>
                </a:lnTo>
                <a:lnTo>
                  <a:pt x="1061" y="29"/>
                </a:lnTo>
                <a:lnTo>
                  <a:pt x="1048" y="17"/>
                </a:lnTo>
                <a:lnTo>
                  <a:pt x="1029" y="0"/>
                </a:lnTo>
                <a:lnTo>
                  <a:pt x="0" y="1247"/>
                </a:lnTo>
                <a:lnTo>
                  <a:pt x="0" y="1251"/>
                </a:lnTo>
                <a:lnTo>
                  <a:pt x="11" y="1265"/>
                </a:lnTo>
                <a:lnTo>
                  <a:pt x="23" y="1276"/>
                </a:lnTo>
                <a:lnTo>
                  <a:pt x="38" y="1288"/>
                </a:lnTo>
                <a:lnTo>
                  <a:pt x="50" y="1301"/>
                </a:lnTo>
                <a:lnTo>
                  <a:pt x="54" y="1313"/>
                </a:lnTo>
                <a:lnTo>
                  <a:pt x="61" y="1318"/>
                </a:lnTo>
                <a:lnTo>
                  <a:pt x="63" y="1322"/>
                </a:lnTo>
                <a:lnTo>
                  <a:pt x="86" y="1322"/>
                </a:lnTo>
                <a:lnTo>
                  <a:pt x="109" y="1322"/>
                </a:lnTo>
                <a:lnTo>
                  <a:pt x="121" y="1326"/>
                </a:lnTo>
                <a:lnTo>
                  <a:pt x="128" y="1330"/>
                </a:lnTo>
                <a:lnTo>
                  <a:pt x="136" y="1338"/>
                </a:lnTo>
                <a:lnTo>
                  <a:pt x="140" y="1347"/>
                </a:lnTo>
                <a:lnTo>
                  <a:pt x="136" y="1355"/>
                </a:lnTo>
                <a:lnTo>
                  <a:pt x="132" y="1359"/>
                </a:lnTo>
                <a:lnTo>
                  <a:pt x="125" y="1366"/>
                </a:lnTo>
                <a:lnTo>
                  <a:pt x="117" y="1374"/>
                </a:lnTo>
                <a:lnTo>
                  <a:pt x="113" y="1380"/>
                </a:lnTo>
                <a:lnTo>
                  <a:pt x="113" y="1387"/>
                </a:lnTo>
                <a:lnTo>
                  <a:pt x="113" y="1395"/>
                </a:lnTo>
                <a:lnTo>
                  <a:pt x="117" y="1403"/>
                </a:lnTo>
                <a:lnTo>
                  <a:pt x="132" y="1409"/>
                </a:lnTo>
                <a:lnTo>
                  <a:pt x="155" y="1424"/>
                </a:lnTo>
                <a:lnTo>
                  <a:pt x="222" y="1462"/>
                </a:lnTo>
                <a:lnTo>
                  <a:pt x="328" y="1528"/>
                </a:lnTo>
                <a:lnTo>
                  <a:pt x="468" y="1610"/>
                </a:lnTo>
                <a:lnTo>
                  <a:pt x="643" y="1704"/>
                </a:lnTo>
                <a:lnTo>
                  <a:pt x="846" y="1806"/>
                </a:lnTo>
                <a:lnTo>
                  <a:pt x="956" y="1858"/>
                </a:lnTo>
                <a:lnTo>
                  <a:pt x="1069" y="1908"/>
                </a:lnTo>
                <a:lnTo>
                  <a:pt x="1190" y="1958"/>
                </a:lnTo>
                <a:lnTo>
                  <a:pt x="1311" y="2004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12" name="Freeform 453"/>
          <p:cNvSpPr>
            <a:spLocks/>
          </p:cNvSpPr>
          <p:nvPr/>
        </p:nvSpPr>
        <p:spPr bwMode="gray">
          <a:xfrm>
            <a:off x="4221286" y="3508781"/>
            <a:ext cx="632421" cy="1015474"/>
          </a:xfrm>
          <a:custGeom>
            <a:avLst/>
            <a:gdLst>
              <a:gd name="T0" fmla="*/ 304 w 1639"/>
              <a:gd name="T1" fmla="*/ 426 h 2610"/>
              <a:gd name="T2" fmla="*/ 308 w 1639"/>
              <a:gd name="T3" fmla="*/ 445 h 2610"/>
              <a:gd name="T4" fmla="*/ 320 w 1639"/>
              <a:gd name="T5" fmla="*/ 455 h 2610"/>
              <a:gd name="T6" fmla="*/ 328 w 1639"/>
              <a:gd name="T7" fmla="*/ 470 h 2610"/>
              <a:gd name="T8" fmla="*/ 336 w 1639"/>
              <a:gd name="T9" fmla="*/ 500 h 2610"/>
              <a:gd name="T10" fmla="*/ 350 w 1639"/>
              <a:gd name="T11" fmla="*/ 508 h 2610"/>
              <a:gd name="T12" fmla="*/ 357 w 1639"/>
              <a:gd name="T13" fmla="*/ 529 h 2610"/>
              <a:gd name="T14" fmla="*/ 369 w 1639"/>
              <a:gd name="T15" fmla="*/ 543 h 2610"/>
              <a:gd name="T16" fmla="*/ 382 w 1639"/>
              <a:gd name="T17" fmla="*/ 566 h 2610"/>
              <a:gd name="T18" fmla="*/ 394 w 1639"/>
              <a:gd name="T19" fmla="*/ 585 h 2610"/>
              <a:gd name="T20" fmla="*/ 402 w 1639"/>
              <a:gd name="T21" fmla="*/ 596 h 2610"/>
              <a:gd name="T22" fmla="*/ 399 w 1639"/>
              <a:gd name="T23" fmla="*/ 622 h 2610"/>
              <a:gd name="T24" fmla="*/ 405 w 1639"/>
              <a:gd name="T25" fmla="*/ 643 h 2610"/>
              <a:gd name="T26" fmla="*/ 386 w 1639"/>
              <a:gd name="T27" fmla="*/ 650 h 2610"/>
              <a:gd name="T28" fmla="*/ 203 w 1639"/>
              <a:gd name="T29" fmla="*/ 606 h 2610"/>
              <a:gd name="T30" fmla="*/ 158 w 1639"/>
              <a:gd name="T31" fmla="*/ 577 h 2610"/>
              <a:gd name="T32" fmla="*/ 149 w 1639"/>
              <a:gd name="T33" fmla="*/ 561 h 2610"/>
              <a:gd name="T34" fmla="*/ 133 w 1639"/>
              <a:gd name="T35" fmla="*/ 553 h 2610"/>
              <a:gd name="T36" fmla="*/ 126 w 1639"/>
              <a:gd name="T37" fmla="*/ 524 h 2610"/>
              <a:gd name="T38" fmla="*/ 98 w 1639"/>
              <a:gd name="T39" fmla="*/ 506 h 2610"/>
              <a:gd name="T40" fmla="*/ 84 w 1639"/>
              <a:gd name="T41" fmla="*/ 485 h 2610"/>
              <a:gd name="T42" fmla="*/ 71 w 1639"/>
              <a:gd name="T43" fmla="*/ 475 h 2610"/>
              <a:gd name="T44" fmla="*/ 68 w 1639"/>
              <a:gd name="T45" fmla="*/ 466 h 2610"/>
              <a:gd name="T46" fmla="*/ 70 w 1639"/>
              <a:gd name="T47" fmla="*/ 438 h 2610"/>
              <a:gd name="T48" fmla="*/ 73 w 1639"/>
              <a:gd name="T49" fmla="*/ 424 h 2610"/>
              <a:gd name="T50" fmla="*/ 71 w 1639"/>
              <a:gd name="T51" fmla="*/ 410 h 2610"/>
              <a:gd name="T52" fmla="*/ 71 w 1639"/>
              <a:gd name="T53" fmla="*/ 397 h 2610"/>
              <a:gd name="T54" fmla="*/ 61 w 1639"/>
              <a:gd name="T55" fmla="*/ 389 h 2610"/>
              <a:gd name="T56" fmla="*/ 62 w 1639"/>
              <a:gd name="T57" fmla="*/ 379 h 2610"/>
              <a:gd name="T58" fmla="*/ 60 w 1639"/>
              <a:gd name="T59" fmla="*/ 359 h 2610"/>
              <a:gd name="T60" fmla="*/ 45 w 1639"/>
              <a:gd name="T61" fmla="*/ 315 h 2610"/>
              <a:gd name="T62" fmla="*/ 56 w 1639"/>
              <a:gd name="T63" fmla="*/ 306 h 2610"/>
              <a:gd name="T64" fmla="*/ 67 w 1639"/>
              <a:gd name="T65" fmla="*/ 289 h 2610"/>
              <a:gd name="T66" fmla="*/ 85 w 1639"/>
              <a:gd name="T67" fmla="*/ 276 h 2610"/>
              <a:gd name="T68" fmla="*/ 87 w 1639"/>
              <a:gd name="T69" fmla="*/ 264 h 2610"/>
              <a:gd name="T70" fmla="*/ 97 w 1639"/>
              <a:gd name="T71" fmla="*/ 249 h 2610"/>
              <a:gd name="T72" fmla="*/ 91 w 1639"/>
              <a:gd name="T73" fmla="*/ 238 h 2610"/>
              <a:gd name="T74" fmla="*/ 89 w 1639"/>
              <a:gd name="T75" fmla="*/ 226 h 2610"/>
              <a:gd name="T76" fmla="*/ 69 w 1639"/>
              <a:gd name="T77" fmla="*/ 207 h 2610"/>
              <a:gd name="T78" fmla="*/ 69 w 1639"/>
              <a:gd name="T79" fmla="*/ 177 h 2610"/>
              <a:gd name="T80" fmla="*/ 72 w 1639"/>
              <a:gd name="T81" fmla="*/ 119 h 2610"/>
              <a:gd name="T82" fmla="*/ 67 w 1639"/>
              <a:gd name="T83" fmla="*/ 94 h 2610"/>
              <a:gd name="T84" fmla="*/ 66 w 1639"/>
              <a:gd name="T85" fmla="*/ 77 h 2610"/>
              <a:gd name="T86" fmla="*/ 62 w 1639"/>
              <a:gd name="T87" fmla="*/ 69 h 2610"/>
              <a:gd name="T88" fmla="*/ 67 w 1639"/>
              <a:gd name="T89" fmla="*/ 58 h 2610"/>
              <a:gd name="T90" fmla="*/ 59 w 1639"/>
              <a:gd name="T91" fmla="*/ 47 h 2610"/>
              <a:gd name="T92" fmla="*/ 42 w 1639"/>
              <a:gd name="T93" fmla="*/ 45 h 2610"/>
              <a:gd name="T94" fmla="*/ 22 w 1639"/>
              <a:gd name="T95" fmla="*/ 54 h 2610"/>
              <a:gd name="T96" fmla="*/ 5 w 1639"/>
              <a:gd name="T97" fmla="*/ 53 h 2610"/>
              <a:gd name="T98" fmla="*/ 5 w 1639"/>
              <a:gd name="T99" fmla="*/ 43 h 2610"/>
              <a:gd name="T100" fmla="*/ 3 w 1639"/>
              <a:gd name="T101" fmla="*/ 22 h 2610"/>
              <a:gd name="T102" fmla="*/ 1 w 1639"/>
              <a:gd name="T103" fmla="*/ 5 h 2610"/>
              <a:gd name="T104" fmla="*/ 11 w 1639"/>
              <a:gd name="T105" fmla="*/ 5 h 2610"/>
              <a:gd name="T106" fmla="*/ 139 w 1639"/>
              <a:gd name="T107" fmla="*/ 78 h 2610"/>
              <a:gd name="T108" fmla="*/ 266 w 1639"/>
              <a:gd name="T109" fmla="*/ 138 h 261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639"/>
              <a:gd name="T166" fmla="*/ 0 h 2610"/>
              <a:gd name="T167" fmla="*/ 1639 w 1639"/>
              <a:gd name="T168" fmla="*/ 2610 h 2610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639" h="2610">
                <a:moveTo>
                  <a:pt x="1510" y="700"/>
                </a:moveTo>
                <a:lnTo>
                  <a:pt x="1207" y="1683"/>
                </a:lnTo>
                <a:lnTo>
                  <a:pt x="1207" y="1693"/>
                </a:lnTo>
                <a:lnTo>
                  <a:pt x="1215" y="1704"/>
                </a:lnTo>
                <a:lnTo>
                  <a:pt x="1223" y="1721"/>
                </a:lnTo>
                <a:lnTo>
                  <a:pt x="1200" y="1729"/>
                </a:lnTo>
                <a:lnTo>
                  <a:pt x="1211" y="1750"/>
                </a:lnTo>
                <a:lnTo>
                  <a:pt x="1230" y="1783"/>
                </a:lnTo>
                <a:lnTo>
                  <a:pt x="1253" y="1812"/>
                </a:lnTo>
                <a:lnTo>
                  <a:pt x="1261" y="1823"/>
                </a:lnTo>
                <a:lnTo>
                  <a:pt x="1269" y="1827"/>
                </a:lnTo>
                <a:lnTo>
                  <a:pt x="1278" y="1823"/>
                </a:lnTo>
                <a:lnTo>
                  <a:pt x="1286" y="1815"/>
                </a:lnTo>
                <a:lnTo>
                  <a:pt x="1290" y="1837"/>
                </a:lnTo>
                <a:lnTo>
                  <a:pt x="1301" y="1860"/>
                </a:lnTo>
                <a:lnTo>
                  <a:pt x="1309" y="1881"/>
                </a:lnTo>
                <a:lnTo>
                  <a:pt x="1320" y="1898"/>
                </a:lnTo>
                <a:lnTo>
                  <a:pt x="1320" y="1963"/>
                </a:lnTo>
                <a:lnTo>
                  <a:pt x="1332" y="1988"/>
                </a:lnTo>
                <a:lnTo>
                  <a:pt x="1343" y="2000"/>
                </a:lnTo>
                <a:lnTo>
                  <a:pt x="1359" y="2005"/>
                </a:lnTo>
                <a:lnTo>
                  <a:pt x="1390" y="2017"/>
                </a:lnTo>
                <a:lnTo>
                  <a:pt x="1393" y="2021"/>
                </a:lnTo>
                <a:lnTo>
                  <a:pt x="1397" y="2034"/>
                </a:lnTo>
                <a:lnTo>
                  <a:pt x="1407" y="2067"/>
                </a:lnTo>
                <a:lnTo>
                  <a:pt x="1414" y="2099"/>
                </a:lnTo>
                <a:lnTo>
                  <a:pt x="1422" y="2111"/>
                </a:lnTo>
                <a:lnTo>
                  <a:pt x="1426" y="2115"/>
                </a:lnTo>
                <a:lnTo>
                  <a:pt x="1434" y="2115"/>
                </a:lnTo>
                <a:lnTo>
                  <a:pt x="1438" y="2111"/>
                </a:lnTo>
                <a:lnTo>
                  <a:pt x="1449" y="2103"/>
                </a:lnTo>
                <a:lnTo>
                  <a:pt x="1476" y="2172"/>
                </a:lnTo>
                <a:lnTo>
                  <a:pt x="1491" y="2201"/>
                </a:lnTo>
                <a:lnTo>
                  <a:pt x="1514" y="2234"/>
                </a:lnTo>
                <a:lnTo>
                  <a:pt x="1518" y="2243"/>
                </a:lnTo>
                <a:lnTo>
                  <a:pt x="1526" y="2263"/>
                </a:lnTo>
                <a:lnTo>
                  <a:pt x="1539" y="2293"/>
                </a:lnTo>
                <a:lnTo>
                  <a:pt x="1547" y="2313"/>
                </a:lnTo>
                <a:lnTo>
                  <a:pt x="1558" y="2326"/>
                </a:lnTo>
                <a:lnTo>
                  <a:pt x="1574" y="2337"/>
                </a:lnTo>
                <a:lnTo>
                  <a:pt x="1589" y="2341"/>
                </a:lnTo>
                <a:lnTo>
                  <a:pt x="1593" y="2355"/>
                </a:lnTo>
                <a:lnTo>
                  <a:pt x="1601" y="2370"/>
                </a:lnTo>
                <a:lnTo>
                  <a:pt x="1605" y="2384"/>
                </a:lnTo>
                <a:lnTo>
                  <a:pt x="1608" y="2407"/>
                </a:lnTo>
                <a:lnTo>
                  <a:pt x="1605" y="2432"/>
                </a:lnTo>
                <a:lnTo>
                  <a:pt x="1597" y="2460"/>
                </a:lnTo>
                <a:lnTo>
                  <a:pt x="1593" y="2485"/>
                </a:lnTo>
                <a:lnTo>
                  <a:pt x="1589" y="2510"/>
                </a:lnTo>
                <a:lnTo>
                  <a:pt x="1593" y="2531"/>
                </a:lnTo>
                <a:lnTo>
                  <a:pt x="1605" y="2552"/>
                </a:lnTo>
                <a:lnTo>
                  <a:pt x="1620" y="2572"/>
                </a:lnTo>
                <a:lnTo>
                  <a:pt x="1628" y="2579"/>
                </a:lnTo>
                <a:lnTo>
                  <a:pt x="1635" y="2581"/>
                </a:lnTo>
                <a:lnTo>
                  <a:pt x="1639" y="2610"/>
                </a:lnTo>
                <a:lnTo>
                  <a:pt x="1543" y="2597"/>
                </a:lnTo>
                <a:lnTo>
                  <a:pt x="1305" y="2547"/>
                </a:lnTo>
                <a:lnTo>
                  <a:pt x="1150" y="2514"/>
                </a:lnTo>
                <a:lnTo>
                  <a:pt x="985" y="2470"/>
                </a:lnTo>
                <a:lnTo>
                  <a:pt x="810" y="2424"/>
                </a:lnTo>
                <a:lnTo>
                  <a:pt x="639" y="2370"/>
                </a:lnTo>
                <a:lnTo>
                  <a:pt x="639" y="2337"/>
                </a:lnTo>
                <a:lnTo>
                  <a:pt x="637" y="2320"/>
                </a:lnTo>
                <a:lnTo>
                  <a:pt x="629" y="2305"/>
                </a:lnTo>
                <a:lnTo>
                  <a:pt x="603" y="2276"/>
                </a:lnTo>
                <a:lnTo>
                  <a:pt x="599" y="2265"/>
                </a:lnTo>
                <a:lnTo>
                  <a:pt x="599" y="2255"/>
                </a:lnTo>
                <a:lnTo>
                  <a:pt x="595" y="2243"/>
                </a:lnTo>
                <a:lnTo>
                  <a:pt x="591" y="2236"/>
                </a:lnTo>
                <a:lnTo>
                  <a:pt x="572" y="2226"/>
                </a:lnTo>
                <a:lnTo>
                  <a:pt x="549" y="2218"/>
                </a:lnTo>
                <a:lnTo>
                  <a:pt x="530" y="2211"/>
                </a:lnTo>
                <a:lnTo>
                  <a:pt x="514" y="2201"/>
                </a:lnTo>
                <a:lnTo>
                  <a:pt x="514" y="2128"/>
                </a:lnTo>
                <a:lnTo>
                  <a:pt x="510" y="2111"/>
                </a:lnTo>
                <a:lnTo>
                  <a:pt x="501" y="2096"/>
                </a:lnTo>
                <a:lnTo>
                  <a:pt x="485" y="2078"/>
                </a:lnTo>
                <a:lnTo>
                  <a:pt x="470" y="2067"/>
                </a:lnTo>
                <a:lnTo>
                  <a:pt x="428" y="2042"/>
                </a:lnTo>
                <a:lnTo>
                  <a:pt x="389" y="2025"/>
                </a:lnTo>
                <a:lnTo>
                  <a:pt x="380" y="2017"/>
                </a:lnTo>
                <a:lnTo>
                  <a:pt x="372" y="2009"/>
                </a:lnTo>
                <a:lnTo>
                  <a:pt x="357" y="1984"/>
                </a:lnTo>
                <a:lnTo>
                  <a:pt x="334" y="1942"/>
                </a:lnTo>
                <a:lnTo>
                  <a:pt x="326" y="1931"/>
                </a:lnTo>
                <a:lnTo>
                  <a:pt x="315" y="1923"/>
                </a:lnTo>
                <a:lnTo>
                  <a:pt x="295" y="1909"/>
                </a:lnTo>
                <a:lnTo>
                  <a:pt x="284" y="1902"/>
                </a:lnTo>
                <a:lnTo>
                  <a:pt x="276" y="1894"/>
                </a:lnTo>
                <a:lnTo>
                  <a:pt x="272" y="1884"/>
                </a:lnTo>
                <a:lnTo>
                  <a:pt x="269" y="1869"/>
                </a:lnTo>
                <a:lnTo>
                  <a:pt x="272" y="1865"/>
                </a:lnTo>
                <a:lnTo>
                  <a:pt x="276" y="1861"/>
                </a:lnTo>
                <a:lnTo>
                  <a:pt x="280" y="1860"/>
                </a:lnTo>
                <a:lnTo>
                  <a:pt x="280" y="1856"/>
                </a:lnTo>
                <a:lnTo>
                  <a:pt x="280" y="1754"/>
                </a:lnTo>
                <a:lnTo>
                  <a:pt x="288" y="1737"/>
                </a:lnTo>
                <a:lnTo>
                  <a:pt x="292" y="1721"/>
                </a:lnTo>
                <a:lnTo>
                  <a:pt x="295" y="1716"/>
                </a:lnTo>
                <a:lnTo>
                  <a:pt x="292" y="1696"/>
                </a:lnTo>
                <a:lnTo>
                  <a:pt x="288" y="1687"/>
                </a:lnTo>
                <a:lnTo>
                  <a:pt x="284" y="1671"/>
                </a:lnTo>
                <a:lnTo>
                  <a:pt x="280" y="1654"/>
                </a:lnTo>
                <a:lnTo>
                  <a:pt x="284" y="1643"/>
                </a:lnTo>
                <a:lnTo>
                  <a:pt x="288" y="1631"/>
                </a:lnTo>
                <a:lnTo>
                  <a:pt x="295" y="1618"/>
                </a:lnTo>
                <a:lnTo>
                  <a:pt x="295" y="1589"/>
                </a:lnTo>
                <a:lnTo>
                  <a:pt x="284" y="1589"/>
                </a:lnTo>
                <a:lnTo>
                  <a:pt x="272" y="1585"/>
                </a:lnTo>
                <a:lnTo>
                  <a:pt x="265" y="1577"/>
                </a:lnTo>
                <a:lnTo>
                  <a:pt x="257" y="1570"/>
                </a:lnTo>
                <a:lnTo>
                  <a:pt x="244" y="1556"/>
                </a:lnTo>
                <a:lnTo>
                  <a:pt x="240" y="1549"/>
                </a:lnTo>
                <a:lnTo>
                  <a:pt x="240" y="1539"/>
                </a:lnTo>
                <a:lnTo>
                  <a:pt x="244" y="1527"/>
                </a:lnTo>
                <a:lnTo>
                  <a:pt x="247" y="1516"/>
                </a:lnTo>
                <a:lnTo>
                  <a:pt x="251" y="1506"/>
                </a:lnTo>
                <a:lnTo>
                  <a:pt x="251" y="1495"/>
                </a:lnTo>
                <a:lnTo>
                  <a:pt x="251" y="1470"/>
                </a:lnTo>
                <a:lnTo>
                  <a:pt x="240" y="1437"/>
                </a:lnTo>
                <a:lnTo>
                  <a:pt x="217" y="1376"/>
                </a:lnTo>
                <a:lnTo>
                  <a:pt x="190" y="1314"/>
                </a:lnTo>
                <a:lnTo>
                  <a:pt x="182" y="1286"/>
                </a:lnTo>
                <a:lnTo>
                  <a:pt x="178" y="1257"/>
                </a:lnTo>
                <a:lnTo>
                  <a:pt x="182" y="1253"/>
                </a:lnTo>
                <a:lnTo>
                  <a:pt x="186" y="1247"/>
                </a:lnTo>
                <a:lnTo>
                  <a:pt x="205" y="1236"/>
                </a:lnTo>
                <a:lnTo>
                  <a:pt x="221" y="1224"/>
                </a:lnTo>
                <a:lnTo>
                  <a:pt x="232" y="1215"/>
                </a:lnTo>
                <a:lnTo>
                  <a:pt x="247" y="1190"/>
                </a:lnTo>
                <a:lnTo>
                  <a:pt x="257" y="1165"/>
                </a:lnTo>
                <a:lnTo>
                  <a:pt x="265" y="1153"/>
                </a:lnTo>
                <a:lnTo>
                  <a:pt x="276" y="1146"/>
                </a:lnTo>
                <a:lnTo>
                  <a:pt x="299" y="1132"/>
                </a:lnTo>
                <a:lnTo>
                  <a:pt x="322" y="1117"/>
                </a:lnTo>
                <a:lnTo>
                  <a:pt x="338" y="1103"/>
                </a:lnTo>
                <a:lnTo>
                  <a:pt x="345" y="1092"/>
                </a:lnTo>
                <a:lnTo>
                  <a:pt x="345" y="1078"/>
                </a:lnTo>
                <a:lnTo>
                  <a:pt x="345" y="1063"/>
                </a:lnTo>
                <a:lnTo>
                  <a:pt x="345" y="1055"/>
                </a:lnTo>
                <a:lnTo>
                  <a:pt x="357" y="1038"/>
                </a:lnTo>
                <a:lnTo>
                  <a:pt x="372" y="1023"/>
                </a:lnTo>
                <a:lnTo>
                  <a:pt x="382" y="1009"/>
                </a:lnTo>
                <a:lnTo>
                  <a:pt x="386" y="998"/>
                </a:lnTo>
                <a:lnTo>
                  <a:pt x="386" y="988"/>
                </a:lnTo>
                <a:lnTo>
                  <a:pt x="382" y="977"/>
                </a:lnTo>
                <a:lnTo>
                  <a:pt x="376" y="965"/>
                </a:lnTo>
                <a:lnTo>
                  <a:pt x="361" y="952"/>
                </a:lnTo>
                <a:lnTo>
                  <a:pt x="357" y="940"/>
                </a:lnTo>
                <a:lnTo>
                  <a:pt x="357" y="931"/>
                </a:lnTo>
                <a:lnTo>
                  <a:pt x="357" y="919"/>
                </a:lnTo>
                <a:lnTo>
                  <a:pt x="353" y="907"/>
                </a:lnTo>
                <a:lnTo>
                  <a:pt x="334" y="890"/>
                </a:lnTo>
                <a:lnTo>
                  <a:pt x="307" y="869"/>
                </a:lnTo>
                <a:lnTo>
                  <a:pt x="284" y="840"/>
                </a:lnTo>
                <a:lnTo>
                  <a:pt x="276" y="829"/>
                </a:lnTo>
                <a:lnTo>
                  <a:pt x="272" y="815"/>
                </a:lnTo>
                <a:lnTo>
                  <a:pt x="272" y="800"/>
                </a:lnTo>
                <a:lnTo>
                  <a:pt x="272" y="729"/>
                </a:lnTo>
                <a:lnTo>
                  <a:pt x="276" y="710"/>
                </a:lnTo>
                <a:lnTo>
                  <a:pt x="280" y="693"/>
                </a:lnTo>
                <a:lnTo>
                  <a:pt x="284" y="675"/>
                </a:lnTo>
                <a:lnTo>
                  <a:pt x="288" y="656"/>
                </a:lnTo>
                <a:lnTo>
                  <a:pt x="288" y="476"/>
                </a:lnTo>
                <a:lnTo>
                  <a:pt x="284" y="451"/>
                </a:lnTo>
                <a:lnTo>
                  <a:pt x="276" y="430"/>
                </a:lnTo>
                <a:lnTo>
                  <a:pt x="269" y="405"/>
                </a:lnTo>
                <a:lnTo>
                  <a:pt x="265" y="378"/>
                </a:lnTo>
                <a:lnTo>
                  <a:pt x="265" y="360"/>
                </a:lnTo>
                <a:lnTo>
                  <a:pt x="265" y="341"/>
                </a:lnTo>
                <a:lnTo>
                  <a:pt x="265" y="324"/>
                </a:lnTo>
                <a:lnTo>
                  <a:pt x="261" y="305"/>
                </a:lnTo>
                <a:lnTo>
                  <a:pt x="257" y="299"/>
                </a:lnTo>
                <a:lnTo>
                  <a:pt x="255" y="291"/>
                </a:lnTo>
                <a:lnTo>
                  <a:pt x="247" y="284"/>
                </a:lnTo>
                <a:lnTo>
                  <a:pt x="247" y="274"/>
                </a:lnTo>
                <a:lnTo>
                  <a:pt x="247" y="263"/>
                </a:lnTo>
                <a:lnTo>
                  <a:pt x="255" y="255"/>
                </a:lnTo>
                <a:lnTo>
                  <a:pt x="261" y="245"/>
                </a:lnTo>
                <a:lnTo>
                  <a:pt x="265" y="234"/>
                </a:lnTo>
                <a:lnTo>
                  <a:pt x="261" y="218"/>
                </a:lnTo>
                <a:lnTo>
                  <a:pt x="257" y="205"/>
                </a:lnTo>
                <a:lnTo>
                  <a:pt x="247" y="193"/>
                </a:lnTo>
                <a:lnTo>
                  <a:pt x="236" y="188"/>
                </a:lnTo>
                <a:lnTo>
                  <a:pt x="224" y="184"/>
                </a:lnTo>
                <a:lnTo>
                  <a:pt x="209" y="180"/>
                </a:lnTo>
                <a:lnTo>
                  <a:pt x="178" y="176"/>
                </a:lnTo>
                <a:lnTo>
                  <a:pt x="167" y="180"/>
                </a:lnTo>
                <a:lnTo>
                  <a:pt x="155" y="184"/>
                </a:lnTo>
                <a:lnTo>
                  <a:pt x="132" y="197"/>
                </a:lnTo>
                <a:lnTo>
                  <a:pt x="103" y="213"/>
                </a:lnTo>
                <a:lnTo>
                  <a:pt x="88" y="216"/>
                </a:lnTo>
                <a:lnTo>
                  <a:pt x="69" y="218"/>
                </a:lnTo>
                <a:lnTo>
                  <a:pt x="50" y="218"/>
                </a:lnTo>
                <a:lnTo>
                  <a:pt x="31" y="216"/>
                </a:lnTo>
                <a:lnTo>
                  <a:pt x="19" y="213"/>
                </a:lnTo>
                <a:lnTo>
                  <a:pt x="15" y="205"/>
                </a:lnTo>
                <a:lnTo>
                  <a:pt x="11" y="197"/>
                </a:lnTo>
                <a:lnTo>
                  <a:pt x="15" y="184"/>
                </a:lnTo>
                <a:lnTo>
                  <a:pt x="19" y="172"/>
                </a:lnTo>
                <a:lnTo>
                  <a:pt x="23" y="161"/>
                </a:lnTo>
                <a:lnTo>
                  <a:pt x="27" y="147"/>
                </a:lnTo>
                <a:lnTo>
                  <a:pt x="23" y="119"/>
                </a:lnTo>
                <a:lnTo>
                  <a:pt x="11" y="90"/>
                </a:lnTo>
                <a:lnTo>
                  <a:pt x="4" y="61"/>
                </a:lnTo>
                <a:lnTo>
                  <a:pt x="0" y="32"/>
                </a:lnTo>
                <a:lnTo>
                  <a:pt x="4" y="25"/>
                </a:lnTo>
                <a:lnTo>
                  <a:pt x="4" y="17"/>
                </a:lnTo>
                <a:lnTo>
                  <a:pt x="8" y="11"/>
                </a:lnTo>
                <a:lnTo>
                  <a:pt x="11" y="0"/>
                </a:lnTo>
                <a:lnTo>
                  <a:pt x="19" y="3"/>
                </a:lnTo>
                <a:lnTo>
                  <a:pt x="42" y="17"/>
                </a:lnTo>
                <a:lnTo>
                  <a:pt x="128" y="71"/>
                </a:lnTo>
                <a:lnTo>
                  <a:pt x="269" y="155"/>
                </a:lnTo>
                <a:lnTo>
                  <a:pt x="451" y="255"/>
                </a:lnTo>
                <a:lnTo>
                  <a:pt x="556" y="312"/>
                </a:lnTo>
                <a:lnTo>
                  <a:pt x="674" y="370"/>
                </a:lnTo>
                <a:lnTo>
                  <a:pt x="798" y="433"/>
                </a:lnTo>
                <a:lnTo>
                  <a:pt x="927" y="491"/>
                </a:lnTo>
                <a:lnTo>
                  <a:pt x="1063" y="549"/>
                </a:lnTo>
                <a:lnTo>
                  <a:pt x="1207" y="602"/>
                </a:lnTo>
                <a:lnTo>
                  <a:pt x="1359" y="652"/>
                </a:lnTo>
                <a:lnTo>
                  <a:pt x="1510" y="700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13" name="Freeform 454"/>
          <p:cNvSpPr>
            <a:spLocks/>
          </p:cNvSpPr>
          <p:nvPr/>
        </p:nvSpPr>
        <p:spPr bwMode="gray">
          <a:xfrm>
            <a:off x="4282214" y="4241012"/>
            <a:ext cx="168903" cy="234998"/>
          </a:xfrm>
          <a:custGeom>
            <a:avLst/>
            <a:gdLst>
              <a:gd name="T0" fmla="*/ 15 w 438"/>
              <a:gd name="T1" fmla="*/ 1 h 602"/>
              <a:gd name="T2" fmla="*/ 25 w 438"/>
              <a:gd name="T3" fmla="*/ 8 h 602"/>
              <a:gd name="T4" fmla="*/ 36 w 438"/>
              <a:gd name="T5" fmla="*/ 23 h 602"/>
              <a:gd name="T6" fmla="*/ 45 w 438"/>
              <a:gd name="T7" fmla="*/ 31 h 602"/>
              <a:gd name="T8" fmla="*/ 63 w 438"/>
              <a:gd name="T9" fmla="*/ 42 h 602"/>
              <a:gd name="T10" fmla="*/ 72 w 438"/>
              <a:gd name="T11" fmla="*/ 49 h 602"/>
              <a:gd name="T12" fmla="*/ 78 w 438"/>
              <a:gd name="T13" fmla="*/ 59 h 602"/>
              <a:gd name="T14" fmla="*/ 77 w 438"/>
              <a:gd name="T15" fmla="*/ 64 h 602"/>
              <a:gd name="T16" fmla="*/ 76 w 438"/>
              <a:gd name="T17" fmla="*/ 66 h 602"/>
              <a:gd name="T18" fmla="*/ 78 w 438"/>
              <a:gd name="T19" fmla="*/ 76 h 602"/>
              <a:gd name="T20" fmla="*/ 83 w 438"/>
              <a:gd name="T21" fmla="*/ 91 h 602"/>
              <a:gd name="T22" fmla="*/ 88 w 438"/>
              <a:gd name="T23" fmla="*/ 98 h 602"/>
              <a:gd name="T24" fmla="*/ 94 w 438"/>
              <a:gd name="T25" fmla="*/ 102 h 602"/>
              <a:gd name="T26" fmla="*/ 97 w 438"/>
              <a:gd name="T27" fmla="*/ 110 h 602"/>
              <a:gd name="T28" fmla="*/ 99 w 438"/>
              <a:gd name="T29" fmla="*/ 114 h 602"/>
              <a:gd name="T30" fmla="*/ 106 w 438"/>
              <a:gd name="T31" fmla="*/ 123 h 602"/>
              <a:gd name="T32" fmla="*/ 108 w 438"/>
              <a:gd name="T33" fmla="*/ 129 h 602"/>
              <a:gd name="T34" fmla="*/ 110 w 438"/>
              <a:gd name="T35" fmla="*/ 132 h 602"/>
              <a:gd name="T36" fmla="*/ 108 w 438"/>
              <a:gd name="T37" fmla="*/ 137 h 602"/>
              <a:gd name="T38" fmla="*/ 110 w 438"/>
              <a:gd name="T39" fmla="*/ 142 h 602"/>
              <a:gd name="T40" fmla="*/ 110 w 438"/>
              <a:gd name="T41" fmla="*/ 146 h 602"/>
              <a:gd name="T42" fmla="*/ 106 w 438"/>
              <a:gd name="T43" fmla="*/ 150 h 602"/>
              <a:gd name="T44" fmla="*/ 100 w 438"/>
              <a:gd name="T45" fmla="*/ 152 h 602"/>
              <a:gd name="T46" fmla="*/ 89 w 438"/>
              <a:gd name="T47" fmla="*/ 147 h 602"/>
              <a:gd name="T48" fmla="*/ 77 w 438"/>
              <a:gd name="T49" fmla="*/ 139 h 602"/>
              <a:gd name="T50" fmla="*/ 66 w 438"/>
              <a:gd name="T51" fmla="*/ 128 h 602"/>
              <a:gd name="T52" fmla="*/ 62 w 438"/>
              <a:gd name="T53" fmla="*/ 118 h 602"/>
              <a:gd name="T54" fmla="*/ 64 w 438"/>
              <a:gd name="T55" fmla="*/ 111 h 602"/>
              <a:gd name="T56" fmla="*/ 67 w 438"/>
              <a:gd name="T57" fmla="*/ 106 h 602"/>
              <a:gd name="T58" fmla="*/ 58 w 438"/>
              <a:gd name="T59" fmla="*/ 104 h 602"/>
              <a:gd name="T60" fmla="*/ 54 w 438"/>
              <a:gd name="T61" fmla="*/ 102 h 602"/>
              <a:gd name="T62" fmla="*/ 50 w 438"/>
              <a:gd name="T63" fmla="*/ 101 h 602"/>
              <a:gd name="T64" fmla="*/ 49 w 438"/>
              <a:gd name="T65" fmla="*/ 95 h 602"/>
              <a:gd name="T66" fmla="*/ 44 w 438"/>
              <a:gd name="T67" fmla="*/ 93 h 602"/>
              <a:gd name="T68" fmla="*/ 43 w 438"/>
              <a:gd name="T69" fmla="*/ 90 h 602"/>
              <a:gd name="T70" fmla="*/ 42 w 438"/>
              <a:gd name="T71" fmla="*/ 84 h 602"/>
              <a:gd name="T72" fmla="*/ 36 w 438"/>
              <a:gd name="T73" fmla="*/ 78 h 602"/>
              <a:gd name="T74" fmla="*/ 30 w 438"/>
              <a:gd name="T75" fmla="*/ 72 h 602"/>
              <a:gd name="T76" fmla="*/ 31 w 438"/>
              <a:gd name="T77" fmla="*/ 67 h 602"/>
              <a:gd name="T78" fmla="*/ 28 w 438"/>
              <a:gd name="T79" fmla="*/ 64 h 602"/>
              <a:gd name="T80" fmla="*/ 29 w 438"/>
              <a:gd name="T81" fmla="*/ 57 h 602"/>
              <a:gd name="T82" fmla="*/ 26 w 438"/>
              <a:gd name="T83" fmla="*/ 54 h 602"/>
              <a:gd name="T84" fmla="*/ 21 w 438"/>
              <a:gd name="T85" fmla="*/ 49 h 602"/>
              <a:gd name="T86" fmla="*/ 21 w 438"/>
              <a:gd name="T87" fmla="*/ 44 h 602"/>
              <a:gd name="T88" fmla="*/ 16 w 438"/>
              <a:gd name="T89" fmla="*/ 39 h 602"/>
              <a:gd name="T90" fmla="*/ 9 w 438"/>
              <a:gd name="T91" fmla="*/ 32 h 602"/>
              <a:gd name="T92" fmla="*/ 7 w 438"/>
              <a:gd name="T93" fmla="*/ 25 h 602"/>
              <a:gd name="T94" fmla="*/ 4 w 438"/>
              <a:gd name="T95" fmla="*/ 17 h 602"/>
              <a:gd name="T96" fmla="*/ 1 w 438"/>
              <a:gd name="T97" fmla="*/ 7 h 602"/>
              <a:gd name="T98" fmla="*/ 5 w 438"/>
              <a:gd name="T99" fmla="*/ 1 h 602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438"/>
              <a:gd name="T151" fmla="*/ 0 h 602"/>
              <a:gd name="T152" fmla="*/ 438 w 438"/>
              <a:gd name="T153" fmla="*/ 602 h 602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438" h="602">
                <a:moveTo>
                  <a:pt x="41" y="0"/>
                </a:moveTo>
                <a:lnTo>
                  <a:pt x="60" y="3"/>
                </a:lnTo>
                <a:lnTo>
                  <a:pt x="79" y="15"/>
                </a:lnTo>
                <a:lnTo>
                  <a:pt x="98" y="32"/>
                </a:lnTo>
                <a:lnTo>
                  <a:pt x="113" y="51"/>
                </a:lnTo>
                <a:lnTo>
                  <a:pt x="142" y="90"/>
                </a:lnTo>
                <a:lnTo>
                  <a:pt x="158" y="109"/>
                </a:lnTo>
                <a:lnTo>
                  <a:pt x="177" y="122"/>
                </a:lnTo>
                <a:lnTo>
                  <a:pt x="215" y="147"/>
                </a:lnTo>
                <a:lnTo>
                  <a:pt x="254" y="168"/>
                </a:lnTo>
                <a:lnTo>
                  <a:pt x="271" y="180"/>
                </a:lnTo>
                <a:lnTo>
                  <a:pt x="286" y="195"/>
                </a:lnTo>
                <a:lnTo>
                  <a:pt x="298" y="213"/>
                </a:lnTo>
                <a:lnTo>
                  <a:pt x="309" y="234"/>
                </a:lnTo>
                <a:lnTo>
                  <a:pt x="290" y="241"/>
                </a:lnTo>
                <a:lnTo>
                  <a:pt x="305" y="253"/>
                </a:lnTo>
                <a:lnTo>
                  <a:pt x="302" y="259"/>
                </a:lnTo>
                <a:lnTo>
                  <a:pt x="302" y="263"/>
                </a:lnTo>
                <a:lnTo>
                  <a:pt x="305" y="270"/>
                </a:lnTo>
                <a:lnTo>
                  <a:pt x="309" y="303"/>
                </a:lnTo>
                <a:lnTo>
                  <a:pt x="321" y="343"/>
                </a:lnTo>
                <a:lnTo>
                  <a:pt x="332" y="360"/>
                </a:lnTo>
                <a:lnTo>
                  <a:pt x="340" y="376"/>
                </a:lnTo>
                <a:lnTo>
                  <a:pt x="352" y="389"/>
                </a:lnTo>
                <a:lnTo>
                  <a:pt x="367" y="397"/>
                </a:lnTo>
                <a:lnTo>
                  <a:pt x="376" y="405"/>
                </a:lnTo>
                <a:lnTo>
                  <a:pt x="384" y="410"/>
                </a:lnTo>
                <a:lnTo>
                  <a:pt x="388" y="439"/>
                </a:lnTo>
                <a:lnTo>
                  <a:pt x="392" y="447"/>
                </a:lnTo>
                <a:lnTo>
                  <a:pt x="396" y="454"/>
                </a:lnTo>
                <a:lnTo>
                  <a:pt x="411" y="472"/>
                </a:lnTo>
                <a:lnTo>
                  <a:pt x="423" y="491"/>
                </a:lnTo>
                <a:lnTo>
                  <a:pt x="426" y="501"/>
                </a:lnTo>
                <a:lnTo>
                  <a:pt x="430" y="512"/>
                </a:lnTo>
                <a:lnTo>
                  <a:pt x="434" y="520"/>
                </a:lnTo>
                <a:lnTo>
                  <a:pt x="438" y="525"/>
                </a:lnTo>
                <a:lnTo>
                  <a:pt x="426" y="529"/>
                </a:lnTo>
                <a:lnTo>
                  <a:pt x="430" y="545"/>
                </a:lnTo>
                <a:lnTo>
                  <a:pt x="434" y="554"/>
                </a:lnTo>
                <a:lnTo>
                  <a:pt x="438" y="566"/>
                </a:lnTo>
                <a:lnTo>
                  <a:pt x="438" y="581"/>
                </a:lnTo>
                <a:lnTo>
                  <a:pt x="438" y="583"/>
                </a:lnTo>
                <a:lnTo>
                  <a:pt x="434" y="591"/>
                </a:lnTo>
                <a:lnTo>
                  <a:pt x="423" y="598"/>
                </a:lnTo>
                <a:lnTo>
                  <a:pt x="411" y="602"/>
                </a:lnTo>
                <a:lnTo>
                  <a:pt x="399" y="602"/>
                </a:lnTo>
                <a:lnTo>
                  <a:pt x="380" y="598"/>
                </a:lnTo>
                <a:lnTo>
                  <a:pt x="355" y="587"/>
                </a:lnTo>
                <a:lnTo>
                  <a:pt x="328" y="573"/>
                </a:lnTo>
                <a:lnTo>
                  <a:pt x="305" y="552"/>
                </a:lnTo>
                <a:lnTo>
                  <a:pt x="282" y="533"/>
                </a:lnTo>
                <a:lnTo>
                  <a:pt x="263" y="508"/>
                </a:lnTo>
                <a:lnTo>
                  <a:pt x="254" y="487"/>
                </a:lnTo>
                <a:lnTo>
                  <a:pt x="250" y="468"/>
                </a:lnTo>
                <a:lnTo>
                  <a:pt x="254" y="454"/>
                </a:lnTo>
                <a:lnTo>
                  <a:pt x="256" y="443"/>
                </a:lnTo>
                <a:lnTo>
                  <a:pt x="263" y="433"/>
                </a:lnTo>
                <a:lnTo>
                  <a:pt x="267" y="422"/>
                </a:lnTo>
                <a:lnTo>
                  <a:pt x="246" y="418"/>
                </a:lnTo>
                <a:lnTo>
                  <a:pt x="234" y="414"/>
                </a:lnTo>
                <a:lnTo>
                  <a:pt x="223" y="406"/>
                </a:lnTo>
                <a:lnTo>
                  <a:pt x="215" y="406"/>
                </a:lnTo>
                <a:lnTo>
                  <a:pt x="211" y="406"/>
                </a:lnTo>
                <a:lnTo>
                  <a:pt x="200" y="401"/>
                </a:lnTo>
                <a:lnTo>
                  <a:pt x="196" y="389"/>
                </a:lnTo>
                <a:lnTo>
                  <a:pt x="196" y="378"/>
                </a:lnTo>
                <a:lnTo>
                  <a:pt x="185" y="376"/>
                </a:lnTo>
                <a:lnTo>
                  <a:pt x="173" y="368"/>
                </a:lnTo>
                <a:lnTo>
                  <a:pt x="169" y="364"/>
                </a:lnTo>
                <a:lnTo>
                  <a:pt x="169" y="357"/>
                </a:lnTo>
                <a:lnTo>
                  <a:pt x="169" y="343"/>
                </a:lnTo>
                <a:lnTo>
                  <a:pt x="165" y="332"/>
                </a:lnTo>
                <a:lnTo>
                  <a:pt x="158" y="324"/>
                </a:lnTo>
                <a:lnTo>
                  <a:pt x="142" y="311"/>
                </a:lnTo>
                <a:lnTo>
                  <a:pt x="125" y="295"/>
                </a:lnTo>
                <a:lnTo>
                  <a:pt x="121" y="287"/>
                </a:lnTo>
                <a:lnTo>
                  <a:pt x="117" y="282"/>
                </a:lnTo>
                <a:lnTo>
                  <a:pt x="125" y="266"/>
                </a:lnTo>
                <a:lnTo>
                  <a:pt x="133" y="253"/>
                </a:lnTo>
                <a:lnTo>
                  <a:pt x="113" y="253"/>
                </a:lnTo>
                <a:lnTo>
                  <a:pt x="117" y="238"/>
                </a:lnTo>
                <a:lnTo>
                  <a:pt x="117" y="228"/>
                </a:lnTo>
                <a:lnTo>
                  <a:pt x="110" y="220"/>
                </a:lnTo>
                <a:lnTo>
                  <a:pt x="102" y="216"/>
                </a:lnTo>
                <a:lnTo>
                  <a:pt x="87" y="201"/>
                </a:lnTo>
                <a:lnTo>
                  <a:pt x="83" y="195"/>
                </a:lnTo>
                <a:lnTo>
                  <a:pt x="79" y="188"/>
                </a:lnTo>
                <a:lnTo>
                  <a:pt x="83" y="176"/>
                </a:lnTo>
                <a:lnTo>
                  <a:pt x="90" y="168"/>
                </a:lnTo>
                <a:lnTo>
                  <a:pt x="64" y="155"/>
                </a:lnTo>
                <a:lnTo>
                  <a:pt x="41" y="138"/>
                </a:lnTo>
                <a:lnTo>
                  <a:pt x="33" y="126"/>
                </a:lnTo>
                <a:lnTo>
                  <a:pt x="29" y="111"/>
                </a:lnTo>
                <a:lnTo>
                  <a:pt x="27" y="97"/>
                </a:lnTo>
                <a:lnTo>
                  <a:pt x="29" y="80"/>
                </a:lnTo>
                <a:lnTo>
                  <a:pt x="16" y="65"/>
                </a:lnTo>
                <a:lnTo>
                  <a:pt x="8" y="48"/>
                </a:lnTo>
                <a:lnTo>
                  <a:pt x="4" y="28"/>
                </a:lnTo>
                <a:lnTo>
                  <a:pt x="0" y="11"/>
                </a:lnTo>
                <a:lnTo>
                  <a:pt x="19" y="3"/>
                </a:lnTo>
                <a:lnTo>
                  <a:pt x="41" y="0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14" name="Freeform 455"/>
          <p:cNvSpPr>
            <a:spLocks/>
          </p:cNvSpPr>
          <p:nvPr/>
        </p:nvSpPr>
        <p:spPr bwMode="gray">
          <a:xfrm>
            <a:off x="4187350" y="3956212"/>
            <a:ext cx="67098" cy="162632"/>
          </a:xfrm>
          <a:custGeom>
            <a:avLst/>
            <a:gdLst>
              <a:gd name="T0" fmla="*/ 7 w 172"/>
              <a:gd name="T1" fmla="*/ 3 h 419"/>
              <a:gd name="T2" fmla="*/ 16 w 172"/>
              <a:gd name="T3" fmla="*/ 3 h 419"/>
              <a:gd name="T4" fmla="*/ 16 w 172"/>
              <a:gd name="T5" fmla="*/ 10 h 419"/>
              <a:gd name="T6" fmla="*/ 22 w 172"/>
              <a:gd name="T7" fmla="*/ 11 h 419"/>
              <a:gd name="T8" fmla="*/ 29 w 172"/>
              <a:gd name="T9" fmla="*/ 17 h 419"/>
              <a:gd name="T10" fmla="*/ 31 w 172"/>
              <a:gd name="T11" fmla="*/ 20 h 419"/>
              <a:gd name="T12" fmla="*/ 38 w 172"/>
              <a:gd name="T13" fmla="*/ 17 h 419"/>
              <a:gd name="T14" fmla="*/ 40 w 172"/>
              <a:gd name="T15" fmla="*/ 20 h 419"/>
              <a:gd name="T16" fmla="*/ 29 w 172"/>
              <a:gd name="T17" fmla="*/ 30 h 419"/>
              <a:gd name="T18" fmla="*/ 23 w 172"/>
              <a:gd name="T19" fmla="*/ 37 h 419"/>
              <a:gd name="T20" fmla="*/ 20 w 172"/>
              <a:gd name="T21" fmla="*/ 46 h 419"/>
              <a:gd name="T22" fmla="*/ 21 w 172"/>
              <a:gd name="T23" fmla="*/ 50 h 419"/>
              <a:gd name="T24" fmla="*/ 23 w 172"/>
              <a:gd name="T25" fmla="*/ 55 h 419"/>
              <a:gd name="T26" fmla="*/ 20 w 172"/>
              <a:gd name="T27" fmla="*/ 63 h 419"/>
              <a:gd name="T28" fmla="*/ 13 w 172"/>
              <a:gd name="T29" fmla="*/ 65 h 419"/>
              <a:gd name="T30" fmla="*/ 14 w 172"/>
              <a:gd name="T31" fmla="*/ 71 h 419"/>
              <a:gd name="T32" fmla="*/ 15 w 172"/>
              <a:gd name="T33" fmla="*/ 76 h 419"/>
              <a:gd name="T34" fmla="*/ 17 w 172"/>
              <a:gd name="T35" fmla="*/ 91 h 419"/>
              <a:gd name="T36" fmla="*/ 19 w 172"/>
              <a:gd name="T37" fmla="*/ 104 h 419"/>
              <a:gd name="T38" fmla="*/ 15 w 172"/>
              <a:gd name="T39" fmla="*/ 101 h 419"/>
              <a:gd name="T40" fmla="*/ 7 w 172"/>
              <a:gd name="T41" fmla="*/ 89 h 419"/>
              <a:gd name="T42" fmla="*/ 5 w 172"/>
              <a:gd name="T43" fmla="*/ 75 h 419"/>
              <a:gd name="T44" fmla="*/ 6 w 172"/>
              <a:gd name="T45" fmla="*/ 70 h 419"/>
              <a:gd name="T46" fmla="*/ 6 w 172"/>
              <a:gd name="T47" fmla="*/ 64 h 419"/>
              <a:gd name="T48" fmla="*/ 1 w 172"/>
              <a:gd name="T49" fmla="*/ 59 h 419"/>
              <a:gd name="T50" fmla="*/ 5 w 172"/>
              <a:gd name="T51" fmla="*/ 57 h 419"/>
              <a:gd name="T52" fmla="*/ 7 w 172"/>
              <a:gd name="T53" fmla="*/ 54 h 419"/>
              <a:gd name="T54" fmla="*/ 3 w 172"/>
              <a:gd name="T55" fmla="*/ 52 h 419"/>
              <a:gd name="T56" fmla="*/ 0 w 172"/>
              <a:gd name="T57" fmla="*/ 38 h 419"/>
              <a:gd name="T58" fmla="*/ 7 w 172"/>
              <a:gd name="T59" fmla="*/ 33 h 419"/>
              <a:gd name="T60" fmla="*/ 4 w 172"/>
              <a:gd name="T61" fmla="*/ 30 h 419"/>
              <a:gd name="T62" fmla="*/ 3 w 172"/>
              <a:gd name="T63" fmla="*/ 17 h 419"/>
              <a:gd name="T64" fmla="*/ 4 w 172"/>
              <a:gd name="T65" fmla="*/ 7 h 419"/>
              <a:gd name="T66" fmla="*/ 5 w 172"/>
              <a:gd name="T67" fmla="*/ 5 h 419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72"/>
              <a:gd name="T103" fmla="*/ 0 h 419"/>
              <a:gd name="T104" fmla="*/ 172 w 172"/>
              <a:gd name="T105" fmla="*/ 419 h 419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72" h="419">
                <a:moveTo>
                  <a:pt x="17" y="21"/>
                </a:moveTo>
                <a:lnTo>
                  <a:pt x="28" y="12"/>
                </a:lnTo>
                <a:lnTo>
                  <a:pt x="36" y="0"/>
                </a:lnTo>
                <a:lnTo>
                  <a:pt x="63" y="12"/>
                </a:lnTo>
                <a:lnTo>
                  <a:pt x="82" y="25"/>
                </a:lnTo>
                <a:lnTo>
                  <a:pt x="63" y="43"/>
                </a:lnTo>
                <a:lnTo>
                  <a:pt x="74" y="46"/>
                </a:lnTo>
                <a:lnTo>
                  <a:pt x="86" y="46"/>
                </a:lnTo>
                <a:lnTo>
                  <a:pt x="113" y="43"/>
                </a:lnTo>
                <a:lnTo>
                  <a:pt x="113" y="69"/>
                </a:lnTo>
                <a:lnTo>
                  <a:pt x="109" y="83"/>
                </a:lnTo>
                <a:lnTo>
                  <a:pt x="120" y="83"/>
                </a:lnTo>
                <a:lnTo>
                  <a:pt x="136" y="75"/>
                </a:lnTo>
                <a:lnTo>
                  <a:pt x="149" y="71"/>
                </a:lnTo>
                <a:lnTo>
                  <a:pt x="172" y="69"/>
                </a:lnTo>
                <a:lnTo>
                  <a:pt x="157" y="83"/>
                </a:lnTo>
                <a:lnTo>
                  <a:pt x="145" y="98"/>
                </a:lnTo>
                <a:lnTo>
                  <a:pt x="113" y="123"/>
                </a:lnTo>
                <a:lnTo>
                  <a:pt x="101" y="133"/>
                </a:lnTo>
                <a:lnTo>
                  <a:pt x="90" y="148"/>
                </a:lnTo>
                <a:lnTo>
                  <a:pt x="78" y="165"/>
                </a:lnTo>
                <a:lnTo>
                  <a:pt x="78" y="185"/>
                </a:lnTo>
                <a:lnTo>
                  <a:pt x="78" y="194"/>
                </a:lnTo>
                <a:lnTo>
                  <a:pt x="82" y="202"/>
                </a:lnTo>
                <a:lnTo>
                  <a:pt x="90" y="210"/>
                </a:lnTo>
                <a:lnTo>
                  <a:pt x="90" y="223"/>
                </a:lnTo>
                <a:lnTo>
                  <a:pt x="86" y="242"/>
                </a:lnTo>
                <a:lnTo>
                  <a:pt x="78" y="252"/>
                </a:lnTo>
                <a:lnTo>
                  <a:pt x="67" y="259"/>
                </a:lnTo>
                <a:lnTo>
                  <a:pt x="51" y="263"/>
                </a:lnTo>
                <a:lnTo>
                  <a:pt x="59" y="277"/>
                </a:lnTo>
                <a:lnTo>
                  <a:pt x="55" y="284"/>
                </a:lnTo>
                <a:lnTo>
                  <a:pt x="55" y="292"/>
                </a:lnTo>
                <a:lnTo>
                  <a:pt x="59" y="304"/>
                </a:lnTo>
                <a:lnTo>
                  <a:pt x="63" y="346"/>
                </a:lnTo>
                <a:lnTo>
                  <a:pt x="67" y="367"/>
                </a:lnTo>
                <a:lnTo>
                  <a:pt x="74" y="390"/>
                </a:lnTo>
                <a:lnTo>
                  <a:pt x="74" y="419"/>
                </a:lnTo>
                <a:lnTo>
                  <a:pt x="67" y="415"/>
                </a:lnTo>
                <a:lnTo>
                  <a:pt x="59" y="407"/>
                </a:lnTo>
                <a:lnTo>
                  <a:pt x="40" y="382"/>
                </a:lnTo>
                <a:lnTo>
                  <a:pt x="25" y="357"/>
                </a:lnTo>
                <a:lnTo>
                  <a:pt x="17" y="342"/>
                </a:lnTo>
                <a:lnTo>
                  <a:pt x="17" y="300"/>
                </a:lnTo>
                <a:lnTo>
                  <a:pt x="21" y="288"/>
                </a:lnTo>
                <a:lnTo>
                  <a:pt x="21" y="281"/>
                </a:lnTo>
                <a:lnTo>
                  <a:pt x="28" y="263"/>
                </a:lnTo>
                <a:lnTo>
                  <a:pt x="21" y="259"/>
                </a:lnTo>
                <a:lnTo>
                  <a:pt x="15" y="252"/>
                </a:lnTo>
                <a:lnTo>
                  <a:pt x="3" y="238"/>
                </a:lnTo>
                <a:lnTo>
                  <a:pt x="15" y="235"/>
                </a:lnTo>
                <a:lnTo>
                  <a:pt x="17" y="231"/>
                </a:lnTo>
                <a:lnTo>
                  <a:pt x="21" y="227"/>
                </a:lnTo>
                <a:lnTo>
                  <a:pt x="25" y="219"/>
                </a:lnTo>
                <a:lnTo>
                  <a:pt x="15" y="213"/>
                </a:lnTo>
                <a:lnTo>
                  <a:pt x="11" y="210"/>
                </a:lnTo>
                <a:lnTo>
                  <a:pt x="3" y="190"/>
                </a:lnTo>
                <a:lnTo>
                  <a:pt x="0" y="152"/>
                </a:lnTo>
                <a:lnTo>
                  <a:pt x="25" y="152"/>
                </a:lnTo>
                <a:lnTo>
                  <a:pt x="25" y="133"/>
                </a:lnTo>
                <a:lnTo>
                  <a:pt x="21" y="127"/>
                </a:lnTo>
                <a:lnTo>
                  <a:pt x="15" y="123"/>
                </a:lnTo>
                <a:lnTo>
                  <a:pt x="11" y="104"/>
                </a:lnTo>
                <a:lnTo>
                  <a:pt x="11" y="71"/>
                </a:lnTo>
                <a:lnTo>
                  <a:pt x="11" y="41"/>
                </a:lnTo>
                <a:lnTo>
                  <a:pt x="15" y="29"/>
                </a:lnTo>
                <a:lnTo>
                  <a:pt x="17" y="25"/>
                </a:lnTo>
                <a:lnTo>
                  <a:pt x="17" y="21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15" name="Freeform 456"/>
          <p:cNvSpPr>
            <a:spLocks/>
          </p:cNvSpPr>
          <p:nvPr/>
        </p:nvSpPr>
        <p:spPr bwMode="gray">
          <a:xfrm>
            <a:off x="4684031" y="3781131"/>
            <a:ext cx="451950" cy="772694"/>
          </a:xfrm>
          <a:custGeom>
            <a:avLst/>
            <a:gdLst>
              <a:gd name="T0" fmla="*/ 283 w 1170"/>
              <a:gd name="T1" fmla="*/ 45 h 1987"/>
              <a:gd name="T2" fmla="*/ 240 w 1170"/>
              <a:gd name="T3" fmla="*/ 38 h 1987"/>
              <a:gd name="T4" fmla="*/ 168 w 1170"/>
              <a:gd name="T5" fmla="*/ 22 h 1987"/>
              <a:gd name="T6" fmla="*/ 78 w 1170"/>
              <a:gd name="T7" fmla="*/ 0 h 1987"/>
              <a:gd name="T8" fmla="*/ 2 w 1170"/>
              <a:gd name="T9" fmla="*/ 248 h 1987"/>
              <a:gd name="T10" fmla="*/ 6 w 1170"/>
              <a:gd name="T11" fmla="*/ 255 h 1987"/>
              <a:gd name="T12" fmla="*/ 3 w 1170"/>
              <a:gd name="T13" fmla="*/ 262 h 1987"/>
              <a:gd name="T14" fmla="*/ 14 w 1170"/>
              <a:gd name="T15" fmla="*/ 278 h 1987"/>
              <a:gd name="T16" fmla="*/ 18 w 1170"/>
              <a:gd name="T17" fmla="*/ 281 h 1987"/>
              <a:gd name="T18" fmla="*/ 22 w 1170"/>
              <a:gd name="T19" fmla="*/ 278 h 1987"/>
              <a:gd name="T20" fmla="*/ 26 w 1170"/>
              <a:gd name="T21" fmla="*/ 290 h 1987"/>
              <a:gd name="T22" fmla="*/ 30 w 1170"/>
              <a:gd name="T23" fmla="*/ 299 h 1987"/>
              <a:gd name="T24" fmla="*/ 33 w 1170"/>
              <a:gd name="T25" fmla="*/ 322 h 1987"/>
              <a:gd name="T26" fmla="*/ 40 w 1170"/>
              <a:gd name="T27" fmla="*/ 326 h 1987"/>
              <a:gd name="T28" fmla="*/ 49 w 1170"/>
              <a:gd name="T29" fmla="*/ 330 h 1987"/>
              <a:gd name="T30" fmla="*/ 53 w 1170"/>
              <a:gd name="T31" fmla="*/ 341 h 1987"/>
              <a:gd name="T32" fmla="*/ 56 w 1170"/>
              <a:gd name="T33" fmla="*/ 352 h 1987"/>
              <a:gd name="T34" fmla="*/ 59 w 1170"/>
              <a:gd name="T35" fmla="*/ 353 h 1987"/>
              <a:gd name="T36" fmla="*/ 63 w 1170"/>
              <a:gd name="T37" fmla="*/ 350 h 1987"/>
              <a:gd name="T38" fmla="*/ 73 w 1170"/>
              <a:gd name="T39" fmla="*/ 375 h 1987"/>
              <a:gd name="T40" fmla="*/ 80 w 1170"/>
              <a:gd name="T41" fmla="*/ 385 h 1987"/>
              <a:gd name="T42" fmla="*/ 85 w 1170"/>
              <a:gd name="T43" fmla="*/ 398 h 1987"/>
              <a:gd name="T44" fmla="*/ 90 w 1170"/>
              <a:gd name="T45" fmla="*/ 406 h 1987"/>
              <a:gd name="T46" fmla="*/ 98 w 1170"/>
              <a:gd name="T47" fmla="*/ 410 h 1987"/>
              <a:gd name="T48" fmla="*/ 101 w 1170"/>
              <a:gd name="T49" fmla="*/ 417 h 1987"/>
              <a:gd name="T50" fmla="*/ 102 w 1170"/>
              <a:gd name="T51" fmla="*/ 426 h 1987"/>
              <a:gd name="T52" fmla="*/ 100 w 1170"/>
              <a:gd name="T53" fmla="*/ 440 h 1987"/>
              <a:gd name="T54" fmla="*/ 98 w 1170"/>
              <a:gd name="T55" fmla="*/ 452 h 1987"/>
              <a:gd name="T56" fmla="*/ 102 w 1170"/>
              <a:gd name="T57" fmla="*/ 463 h 1987"/>
              <a:gd name="T58" fmla="*/ 107 w 1170"/>
              <a:gd name="T59" fmla="*/ 469 h 1987"/>
              <a:gd name="T60" fmla="*/ 110 w 1170"/>
              <a:gd name="T61" fmla="*/ 478 h 1987"/>
              <a:gd name="T62" fmla="*/ 143 w 1170"/>
              <a:gd name="T63" fmla="*/ 485 h 1987"/>
              <a:gd name="T64" fmla="*/ 227 w 1170"/>
              <a:gd name="T65" fmla="*/ 496 h 1987"/>
              <a:gd name="T66" fmla="*/ 259 w 1170"/>
              <a:gd name="T67" fmla="*/ 271 h 1987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170"/>
              <a:gd name="T103" fmla="*/ 0 h 1987"/>
              <a:gd name="T104" fmla="*/ 1170 w 1170"/>
              <a:gd name="T105" fmla="*/ 1987 h 1987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170" h="1987">
                <a:moveTo>
                  <a:pt x="1170" y="186"/>
                </a:moveTo>
                <a:lnTo>
                  <a:pt x="1128" y="183"/>
                </a:lnTo>
                <a:lnTo>
                  <a:pt x="1080" y="175"/>
                </a:lnTo>
                <a:lnTo>
                  <a:pt x="959" y="154"/>
                </a:lnTo>
                <a:lnTo>
                  <a:pt x="819" y="125"/>
                </a:lnTo>
                <a:lnTo>
                  <a:pt x="671" y="88"/>
                </a:lnTo>
                <a:lnTo>
                  <a:pt x="420" y="29"/>
                </a:lnTo>
                <a:lnTo>
                  <a:pt x="310" y="0"/>
                </a:lnTo>
                <a:lnTo>
                  <a:pt x="7" y="983"/>
                </a:lnTo>
                <a:lnTo>
                  <a:pt x="7" y="993"/>
                </a:lnTo>
                <a:lnTo>
                  <a:pt x="15" y="1004"/>
                </a:lnTo>
                <a:lnTo>
                  <a:pt x="23" y="1021"/>
                </a:lnTo>
                <a:lnTo>
                  <a:pt x="0" y="1029"/>
                </a:lnTo>
                <a:lnTo>
                  <a:pt x="11" y="1050"/>
                </a:lnTo>
                <a:lnTo>
                  <a:pt x="30" y="1083"/>
                </a:lnTo>
                <a:lnTo>
                  <a:pt x="53" y="1112"/>
                </a:lnTo>
                <a:lnTo>
                  <a:pt x="61" y="1123"/>
                </a:lnTo>
                <a:lnTo>
                  <a:pt x="69" y="1127"/>
                </a:lnTo>
                <a:lnTo>
                  <a:pt x="80" y="1123"/>
                </a:lnTo>
                <a:lnTo>
                  <a:pt x="88" y="1115"/>
                </a:lnTo>
                <a:lnTo>
                  <a:pt x="92" y="1137"/>
                </a:lnTo>
                <a:lnTo>
                  <a:pt x="103" y="1160"/>
                </a:lnTo>
                <a:lnTo>
                  <a:pt x="111" y="1181"/>
                </a:lnTo>
                <a:lnTo>
                  <a:pt x="120" y="1198"/>
                </a:lnTo>
                <a:lnTo>
                  <a:pt x="120" y="1263"/>
                </a:lnTo>
                <a:lnTo>
                  <a:pt x="132" y="1288"/>
                </a:lnTo>
                <a:lnTo>
                  <a:pt x="143" y="1300"/>
                </a:lnTo>
                <a:lnTo>
                  <a:pt x="159" y="1305"/>
                </a:lnTo>
                <a:lnTo>
                  <a:pt x="190" y="1317"/>
                </a:lnTo>
                <a:lnTo>
                  <a:pt x="193" y="1321"/>
                </a:lnTo>
                <a:lnTo>
                  <a:pt x="197" y="1334"/>
                </a:lnTo>
                <a:lnTo>
                  <a:pt x="209" y="1367"/>
                </a:lnTo>
                <a:lnTo>
                  <a:pt x="216" y="1399"/>
                </a:lnTo>
                <a:lnTo>
                  <a:pt x="222" y="1411"/>
                </a:lnTo>
                <a:lnTo>
                  <a:pt x="226" y="1415"/>
                </a:lnTo>
                <a:lnTo>
                  <a:pt x="234" y="1415"/>
                </a:lnTo>
                <a:lnTo>
                  <a:pt x="238" y="1411"/>
                </a:lnTo>
                <a:lnTo>
                  <a:pt x="249" y="1403"/>
                </a:lnTo>
                <a:lnTo>
                  <a:pt x="276" y="1472"/>
                </a:lnTo>
                <a:lnTo>
                  <a:pt x="291" y="1501"/>
                </a:lnTo>
                <a:lnTo>
                  <a:pt x="314" y="1534"/>
                </a:lnTo>
                <a:lnTo>
                  <a:pt x="318" y="1543"/>
                </a:lnTo>
                <a:lnTo>
                  <a:pt x="326" y="1563"/>
                </a:lnTo>
                <a:lnTo>
                  <a:pt x="339" y="1595"/>
                </a:lnTo>
                <a:lnTo>
                  <a:pt x="347" y="1613"/>
                </a:lnTo>
                <a:lnTo>
                  <a:pt x="358" y="1626"/>
                </a:lnTo>
                <a:lnTo>
                  <a:pt x="374" y="1637"/>
                </a:lnTo>
                <a:lnTo>
                  <a:pt x="389" y="1641"/>
                </a:lnTo>
                <a:lnTo>
                  <a:pt x="393" y="1655"/>
                </a:lnTo>
                <a:lnTo>
                  <a:pt x="401" y="1670"/>
                </a:lnTo>
                <a:lnTo>
                  <a:pt x="405" y="1684"/>
                </a:lnTo>
                <a:lnTo>
                  <a:pt x="408" y="1707"/>
                </a:lnTo>
                <a:lnTo>
                  <a:pt x="405" y="1732"/>
                </a:lnTo>
                <a:lnTo>
                  <a:pt x="397" y="1760"/>
                </a:lnTo>
                <a:lnTo>
                  <a:pt x="393" y="1785"/>
                </a:lnTo>
                <a:lnTo>
                  <a:pt x="389" y="1810"/>
                </a:lnTo>
                <a:lnTo>
                  <a:pt x="393" y="1831"/>
                </a:lnTo>
                <a:lnTo>
                  <a:pt x="405" y="1854"/>
                </a:lnTo>
                <a:lnTo>
                  <a:pt x="420" y="1872"/>
                </a:lnTo>
                <a:lnTo>
                  <a:pt x="428" y="1879"/>
                </a:lnTo>
                <a:lnTo>
                  <a:pt x="435" y="1883"/>
                </a:lnTo>
                <a:lnTo>
                  <a:pt x="439" y="1912"/>
                </a:lnTo>
                <a:lnTo>
                  <a:pt x="499" y="1925"/>
                </a:lnTo>
                <a:lnTo>
                  <a:pt x="570" y="1941"/>
                </a:lnTo>
                <a:lnTo>
                  <a:pt x="725" y="1962"/>
                </a:lnTo>
                <a:lnTo>
                  <a:pt x="905" y="1987"/>
                </a:lnTo>
                <a:lnTo>
                  <a:pt x="944" y="1707"/>
                </a:lnTo>
                <a:lnTo>
                  <a:pt x="1034" y="1087"/>
                </a:lnTo>
                <a:lnTo>
                  <a:pt x="1170" y="186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16" name="Freeform 457"/>
          <p:cNvSpPr>
            <a:spLocks/>
          </p:cNvSpPr>
          <p:nvPr/>
        </p:nvSpPr>
        <p:spPr bwMode="gray">
          <a:xfrm>
            <a:off x="5033405" y="3851943"/>
            <a:ext cx="380224" cy="726783"/>
          </a:xfrm>
          <a:custGeom>
            <a:avLst/>
            <a:gdLst>
              <a:gd name="T0" fmla="*/ 239 w 985"/>
              <a:gd name="T1" fmla="*/ 15 h 1867"/>
              <a:gd name="T2" fmla="*/ 236 w 985"/>
              <a:gd name="T3" fmla="*/ 221 h 1867"/>
              <a:gd name="T4" fmla="*/ 247 w 985"/>
              <a:gd name="T5" fmla="*/ 467 h 1867"/>
              <a:gd name="T6" fmla="*/ 226 w 985"/>
              <a:gd name="T7" fmla="*/ 467 h 1867"/>
              <a:gd name="T8" fmla="*/ 169 w 985"/>
              <a:gd name="T9" fmla="*/ 466 h 1867"/>
              <a:gd name="T10" fmla="*/ 132 w 985"/>
              <a:gd name="T11" fmla="*/ 464 h 1867"/>
              <a:gd name="T12" fmla="*/ 91 w 985"/>
              <a:gd name="T13" fmla="*/ 461 h 1867"/>
              <a:gd name="T14" fmla="*/ 46 w 985"/>
              <a:gd name="T15" fmla="*/ 457 h 1867"/>
              <a:gd name="T16" fmla="*/ 0 w 985"/>
              <a:gd name="T17" fmla="*/ 451 h 1867"/>
              <a:gd name="T18" fmla="*/ 10 w 985"/>
              <a:gd name="T19" fmla="*/ 381 h 1867"/>
              <a:gd name="T20" fmla="*/ 33 w 985"/>
              <a:gd name="T21" fmla="*/ 225 h 1867"/>
              <a:gd name="T22" fmla="*/ 67 w 985"/>
              <a:gd name="T23" fmla="*/ 0 h 1867"/>
              <a:gd name="T24" fmla="*/ 87 w 985"/>
              <a:gd name="T25" fmla="*/ 3 h 1867"/>
              <a:gd name="T26" fmla="*/ 135 w 985"/>
              <a:gd name="T27" fmla="*/ 8 h 1867"/>
              <a:gd name="T28" fmla="*/ 192 w 985"/>
              <a:gd name="T29" fmla="*/ 14 h 1867"/>
              <a:gd name="T30" fmla="*/ 217 w 985"/>
              <a:gd name="T31" fmla="*/ 15 h 1867"/>
              <a:gd name="T32" fmla="*/ 239 w 985"/>
              <a:gd name="T33" fmla="*/ 15 h 186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985"/>
              <a:gd name="T52" fmla="*/ 0 h 1867"/>
              <a:gd name="T53" fmla="*/ 985 w 985"/>
              <a:gd name="T54" fmla="*/ 1867 h 1867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985" h="1867">
                <a:moveTo>
                  <a:pt x="954" y="57"/>
                </a:moveTo>
                <a:lnTo>
                  <a:pt x="943" y="882"/>
                </a:lnTo>
                <a:lnTo>
                  <a:pt x="985" y="1867"/>
                </a:lnTo>
                <a:lnTo>
                  <a:pt x="903" y="1867"/>
                </a:lnTo>
                <a:lnTo>
                  <a:pt x="674" y="1861"/>
                </a:lnTo>
                <a:lnTo>
                  <a:pt x="526" y="1854"/>
                </a:lnTo>
                <a:lnTo>
                  <a:pt x="361" y="1842"/>
                </a:lnTo>
                <a:lnTo>
                  <a:pt x="183" y="1825"/>
                </a:lnTo>
                <a:lnTo>
                  <a:pt x="0" y="1804"/>
                </a:lnTo>
                <a:lnTo>
                  <a:pt x="39" y="1522"/>
                </a:lnTo>
                <a:lnTo>
                  <a:pt x="129" y="900"/>
                </a:lnTo>
                <a:lnTo>
                  <a:pt x="265" y="0"/>
                </a:lnTo>
                <a:lnTo>
                  <a:pt x="346" y="11"/>
                </a:lnTo>
                <a:lnTo>
                  <a:pt x="538" y="32"/>
                </a:lnTo>
                <a:lnTo>
                  <a:pt x="766" y="55"/>
                </a:lnTo>
                <a:lnTo>
                  <a:pt x="868" y="57"/>
                </a:lnTo>
                <a:lnTo>
                  <a:pt x="954" y="57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17" name="Freeform 458"/>
          <p:cNvSpPr>
            <a:spLocks/>
          </p:cNvSpPr>
          <p:nvPr/>
        </p:nvSpPr>
        <p:spPr bwMode="gray">
          <a:xfrm>
            <a:off x="5396661" y="3866727"/>
            <a:ext cx="465832" cy="711999"/>
          </a:xfrm>
          <a:custGeom>
            <a:avLst/>
            <a:gdLst>
              <a:gd name="T0" fmla="*/ 156 w 1207"/>
              <a:gd name="T1" fmla="*/ 1 h 1831"/>
              <a:gd name="T2" fmla="*/ 156 w 1207"/>
              <a:gd name="T3" fmla="*/ 0 h 1831"/>
              <a:gd name="T4" fmla="*/ 155 w 1207"/>
              <a:gd name="T5" fmla="*/ 2 h 1831"/>
              <a:gd name="T6" fmla="*/ 154 w 1207"/>
              <a:gd name="T7" fmla="*/ 2 h 1831"/>
              <a:gd name="T8" fmla="*/ 130 w 1207"/>
              <a:gd name="T9" fmla="*/ 3 h 1831"/>
              <a:gd name="T10" fmla="*/ 104 w 1207"/>
              <a:gd name="T11" fmla="*/ 5 h 1831"/>
              <a:gd name="T12" fmla="*/ 54 w 1207"/>
              <a:gd name="T13" fmla="*/ 6 h 1831"/>
              <a:gd name="T14" fmla="*/ 17 w 1207"/>
              <a:gd name="T15" fmla="*/ 6 h 1831"/>
              <a:gd name="T16" fmla="*/ 3 w 1207"/>
              <a:gd name="T17" fmla="*/ 5 h 1831"/>
              <a:gd name="T18" fmla="*/ 0 w 1207"/>
              <a:gd name="T19" fmla="*/ 211 h 1831"/>
              <a:gd name="T20" fmla="*/ 11 w 1207"/>
              <a:gd name="T21" fmla="*/ 457 h 1831"/>
              <a:gd name="T22" fmla="*/ 37 w 1207"/>
              <a:gd name="T23" fmla="*/ 457 h 1831"/>
              <a:gd name="T24" fmla="*/ 66 w 1207"/>
              <a:gd name="T25" fmla="*/ 457 h 1831"/>
              <a:gd name="T26" fmla="*/ 121 w 1207"/>
              <a:gd name="T27" fmla="*/ 456 h 1831"/>
              <a:gd name="T28" fmla="*/ 182 w 1207"/>
              <a:gd name="T29" fmla="*/ 453 h 1831"/>
              <a:gd name="T30" fmla="*/ 180 w 1207"/>
              <a:gd name="T31" fmla="*/ 437 h 1831"/>
              <a:gd name="T32" fmla="*/ 171 w 1207"/>
              <a:gd name="T33" fmla="*/ 297 h 1831"/>
              <a:gd name="T34" fmla="*/ 184 w 1207"/>
              <a:gd name="T35" fmla="*/ 281 h 1831"/>
              <a:gd name="T36" fmla="*/ 198 w 1207"/>
              <a:gd name="T37" fmla="*/ 265 h 1831"/>
              <a:gd name="T38" fmla="*/ 215 w 1207"/>
              <a:gd name="T39" fmla="*/ 242 h 1831"/>
              <a:gd name="T40" fmla="*/ 235 w 1207"/>
              <a:gd name="T41" fmla="*/ 216 h 1831"/>
              <a:gd name="T42" fmla="*/ 258 w 1207"/>
              <a:gd name="T43" fmla="*/ 184 h 1831"/>
              <a:gd name="T44" fmla="*/ 281 w 1207"/>
              <a:gd name="T45" fmla="*/ 151 h 1831"/>
              <a:gd name="T46" fmla="*/ 302 w 1207"/>
              <a:gd name="T47" fmla="*/ 114 h 1831"/>
              <a:gd name="T48" fmla="*/ 295 w 1207"/>
              <a:gd name="T49" fmla="*/ 114 h 1831"/>
              <a:gd name="T50" fmla="*/ 289 w 1207"/>
              <a:gd name="T51" fmla="*/ 113 h 1831"/>
              <a:gd name="T52" fmla="*/ 283 w 1207"/>
              <a:gd name="T53" fmla="*/ 113 h 1831"/>
              <a:gd name="T54" fmla="*/ 275 w 1207"/>
              <a:gd name="T55" fmla="*/ 112 h 1831"/>
              <a:gd name="T56" fmla="*/ 271 w 1207"/>
              <a:gd name="T57" fmla="*/ 110 h 1831"/>
              <a:gd name="T58" fmla="*/ 267 w 1207"/>
              <a:gd name="T59" fmla="*/ 108 h 1831"/>
              <a:gd name="T60" fmla="*/ 262 w 1207"/>
              <a:gd name="T61" fmla="*/ 105 h 1831"/>
              <a:gd name="T62" fmla="*/ 260 w 1207"/>
              <a:gd name="T63" fmla="*/ 104 h 1831"/>
              <a:gd name="T64" fmla="*/ 256 w 1207"/>
              <a:gd name="T65" fmla="*/ 104 h 1831"/>
              <a:gd name="T66" fmla="*/ 251 w 1207"/>
              <a:gd name="T67" fmla="*/ 104 h 1831"/>
              <a:gd name="T68" fmla="*/ 246 w 1207"/>
              <a:gd name="T69" fmla="*/ 105 h 1831"/>
              <a:gd name="T70" fmla="*/ 238 w 1207"/>
              <a:gd name="T71" fmla="*/ 109 h 1831"/>
              <a:gd name="T72" fmla="*/ 223 w 1207"/>
              <a:gd name="T73" fmla="*/ 118 h 1831"/>
              <a:gd name="T74" fmla="*/ 218 w 1207"/>
              <a:gd name="T75" fmla="*/ 118 h 1831"/>
              <a:gd name="T76" fmla="*/ 218 w 1207"/>
              <a:gd name="T77" fmla="*/ 107 h 1831"/>
              <a:gd name="T78" fmla="*/ 216 w 1207"/>
              <a:gd name="T79" fmla="*/ 98 h 1831"/>
              <a:gd name="T80" fmla="*/ 213 w 1207"/>
              <a:gd name="T81" fmla="*/ 90 h 1831"/>
              <a:gd name="T82" fmla="*/ 209 w 1207"/>
              <a:gd name="T83" fmla="*/ 83 h 1831"/>
              <a:gd name="T84" fmla="*/ 201 w 1207"/>
              <a:gd name="T85" fmla="*/ 68 h 1831"/>
              <a:gd name="T86" fmla="*/ 198 w 1207"/>
              <a:gd name="T87" fmla="*/ 60 h 1831"/>
              <a:gd name="T88" fmla="*/ 196 w 1207"/>
              <a:gd name="T89" fmla="*/ 52 h 1831"/>
              <a:gd name="T90" fmla="*/ 193 w 1207"/>
              <a:gd name="T91" fmla="*/ 50 h 1831"/>
              <a:gd name="T92" fmla="*/ 190 w 1207"/>
              <a:gd name="T93" fmla="*/ 50 h 1831"/>
              <a:gd name="T94" fmla="*/ 185 w 1207"/>
              <a:gd name="T95" fmla="*/ 50 h 1831"/>
              <a:gd name="T96" fmla="*/ 178 w 1207"/>
              <a:gd name="T97" fmla="*/ 51 h 1831"/>
              <a:gd name="T98" fmla="*/ 170 w 1207"/>
              <a:gd name="T99" fmla="*/ 52 h 1831"/>
              <a:gd name="T100" fmla="*/ 168 w 1207"/>
              <a:gd name="T101" fmla="*/ 50 h 1831"/>
              <a:gd name="T102" fmla="*/ 163 w 1207"/>
              <a:gd name="T103" fmla="*/ 48 h 1831"/>
              <a:gd name="T104" fmla="*/ 157 w 1207"/>
              <a:gd name="T105" fmla="*/ 44 h 1831"/>
              <a:gd name="T106" fmla="*/ 157 w 1207"/>
              <a:gd name="T107" fmla="*/ 31 h 1831"/>
              <a:gd name="T108" fmla="*/ 157 w 1207"/>
              <a:gd name="T109" fmla="*/ 26 h 1831"/>
              <a:gd name="T110" fmla="*/ 156 w 1207"/>
              <a:gd name="T111" fmla="*/ 20 h 1831"/>
              <a:gd name="T112" fmla="*/ 155 w 1207"/>
              <a:gd name="T113" fmla="*/ 16 h 1831"/>
              <a:gd name="T114" fmla="*/ 154 w 1207"/>
              <a:gd name="T115" fmla="*/ 11 h 1831"/>
              <a:gd name="T116" fmla="*/ 154 w 1207"/>
              <a:gd name="T117" fmla="*/ 2 h 1831"/>
              <a:gd name="T118" fmla="*/ 156 w 1207"/>
              <a:gd name="T119" fmla="*/ 1 h 1831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207"/>
              <a:gd name="T181" fmla="*/ 0 h 1831"/>
              <a:gd name="T182" fmla="*/ 1207 w 1207"/>
              <a:gd name="T183" fmla="*/ 1831 h 1831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207" h="1831">
                <a:moveTo>
                  <a:pt x="624" y="4"/>
                </a:moveTo>
                <a:lnTo>
                  <a:pt x="624" y="0"/>
                </a:lnTo>
                <a:lnTo>
                  <a:pt x="620" y="8"/>
                </a:lnTo>
                <a:lnTo>
                  <a:pt x="616" y="8"/>
                </a:lnTo>
                <a:lnTo>
                  <a:pt x="518" y="15"/>
                </a:lnTo>
                <a:lnTo>
                  <a:pt x="413" y="21"/>
                </a:lnTo>
                <a:lnTo>
                  <a:pt x="215" y="25"/>
                </a:lnTo>
                <a:lnTo>
                  <a:pt x="67" y="25"/>
                </a:lnTo>
                <a:lnTo>
                  <a:pt x="11" y="21"/>
                </a:lnTo>
                <a:lnTo>
                  <a:pt x="0" y="846"/>
                </a:lnTo>
                <a:lnTo>
                  <a:pt x="42" y="1831"/>
                </a:lnTo>
                <a:lnTo>
                  <a:pt x="148" y="1831"/>
                </a:lnTo>
                <a:lnTo>
                  <a:pt x="261" y="1831"/>
                </a:lnTo>
                <a:lnTo>
                  <a:pt x="484" y="1827"/>
                </a:lnTo>
                <a:lnTo>
                  <a:pt x="726" y="1814"/>
                </a:lnTo>
                <a:lnTo>
                  <a:pt x="718" y="1749"/>
                </a:lnTo>
                <a:lnTo>
                  <a:pt x="683" y="1188"/>
                </a:lnTo>
                <a:lnTo>
                  <a:pt x="733" y="1127"/>
                </a:lnTo>
                <a:lnTo>
                  <a:pt x="791" y="1061"/>
                </a:lnTo>
                <a:lnTo>
                  <a:pt x="858" y="971"/>
                </a:lnTo>
                <a:lnTo>
                  <a:pt x="940" y="864"/>
                </a:lnTo>
                <a:lnTo>
                  <a:pt x="1031" y="737"/>
                </a:lnTo>
                <a:lnTo>
                  <a:pt x="1121" y="605"/>
                </a:lnTo>
                <a:lnTo>
                  <a:pt x="1207" y="457"/>
                </a:lnTo>
                <a:lnTo>
                  <a:pt x="1180" y="457"/>
                </a:lnTo>
                <a:lnTo>
                  <a:pt x="1155" y="453"/>
                </a:lnTo>
                <a:lnTo>
                  <a:pt x="1129" y="453"/>
                </a:lnTo>
                <a:lnTo>
                  <a:pt x="1098" y="449"/>
                </a:lnTo>
                <a:lnTo>
                  <a:pt x="1083" y="443"/>
                </a:lnTo>
                <a:lnTo>
                  <a:pt x="1067" y="432"/>
                </a:lnTo>
                <a:lnTo>
                  <a:pt x="1048" y="420"/>
                </a:lnTo>
                <a:lnTo>
                  <a:pt x="1038" y="418"/>
                </a:lnTo>
                <a:lnTo>
                  <a:pt x="1023" y="418"/>
                </a:lnTo>
                <a:lnTo>
                  <a:pt x="1002" y="418"/>
                </a:lnTo>
                <a:lnTo>
                  <a:pt x="983" y="420"/>
                </a:lnTo>
                <a:lnTo>
                  <a:pt x="952" y="436"/>
                </a:lnTo>
                <a:lnTo>
                  <a:pt x="892" y="472"/>
                </a:lnTo>
                <a:lnTo>
                  <a:pt x="869" y="472"/>
                </a:lnTo>
                <a:lnTo>
                  <a:pt x="869" y="428"/>
                </a:lnTo>
                <a:lnTo>
                  <a:pt x="862" y="392"/>
                </a:lnTo>
                <a:lnTo>
                  <a:pt x="850" y="361"/>
                </a:lnTo>
                <a:lnTo>
                  <a:pt x="835" y="332"/>
                </a:lnTo>
                <a:lnTo>
                  <a:pt x="804" y="274"/>
                </a:lnTo>
                <a:lnTo>
                  <a:pt x="791" y="242"/>
                </a:lnTo>
                <a:lnTo>
                  <a:pt x="783" y="209"/>
                </a:lnTo>
                <a:lnTo>
                  <a:pt x="772" y="202"/>
                </a:lnTo>
                <a:lnTo>
                  <a:pt x="760" y="202"/>
                </a:lnTo>
                <a:lnTo>
                  <a:pt x="737" y="202"/>
                </a:lnTo>
                <a:lnTo>
                  <a:pt x="710" y="205"/>
                </a:lnTo>
                <a:lnTo>
                  <a:pt x="679" y="209"/>
                </a:lnTo>
                <a:lnTo>
                  <a:pt x="670" y="202"/>
                </a:lnTo>
                <a:lnTo>
                  <a:pt x="651" y="192"/>
                </a:lnTo>
                <a:lnTo>
                  <a:pt x="628" y="177"/>
                </a:lnTo>
                <a:lnTo>
                  <a:pt x="628" y="127"/>
                </a:lnTo>
                <a:lnTo>
                  <a:pt x="628" y="106"/>
                </a:lnTo>
                <a:lnTo>
                  <a:pt x="624" y="83"/>
                </a:lnTo>
                <a:lnTo>
                  <a:pt x="620" y="65"/>
                </a:lnTo>
                <a:lnTo>
                  <a:pt x="616" y="44"/>
                </a:lnTo>
                <a:lnTo>
                  <a:pt x="616" y="8"/>
                </a:lnTo>
                <a:lnTo>
                  <a:pt x="624" y="4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18" name="Freeform 459"/>
          <p:cNvSpPr>
            <a:spLocks/>
          </p:cNvSpPr>
          <p:nvPr/>
        </p:nvSpPr>
        <p:spPr bwMode="gray">
          <a:xfrm>
            <a:off x="6857398" y="4283810"/>
            <a:ext cx="278420" cy="216323"/>
          </a:xfrm>
          <a:custGeom>
            <a:avLst/>
            <a:gdLst>
              <a:gd name="T0" fmla="*/ 3 w 722"/>
              <a:gd name="T1" fmla="*/ 78 h 557"/>
              <a:gd name="T2" fmla="*/ 9 w 722"/>
              <a:gd name="T3" fmla="*/ 75 h 557"/>
              <a:gd name="T4" fmla="*/ 17 w 722"/>
              <a:gd name="T5" fmla="*/ 64 h 557"/>
              <a:gd name="T6" fmla="*/ 22 w 722"/>
              <a:gd name="T7" fmla="*/ 62 h 557"/>
              <a:gd name="T8" fmla="*/ 26 w 722"/>
              <a:gd name="T9" fmla="*/ 63 h 557"/>
              <a:gd name="T10" fmla="*/ 35 w 722"/>
              <a:gd name="T11" fmla="*/ 70 h 557"/>
              <a:gd name="T12" fmla="*/ 41 w 722"/>
              <a:gd name="T13" fmla="*/ 72 h 557"/>
              <a:gd name="T14" fmla="*/ 67 w 722"/>
              <a:gd name="T15" fmla="*/ 122 h 557"/>
              <a:gd name="T16" fmla="*/ 76 w 722"/>
              <a:gd name="T17" fmla="*/ 124 h 557"/>
              <a:gd name="T18" fmla="*/ 81 w 722"/>
              <a:gd name="T19" fmla="*/ 130 h 557"/>
              <a:gd name="T20" fmla="*/ 89 w 722"/>
              <a:gd name="T21" fmla="*/ 138 h 557"/>
              <a:gd name="T22" fmla="*/ 98 w 722"/>
              <a:gd name="T23" fmla="*/ 139 h 557"/>
              <a:gd name="T24" fmla="*/ 99 w 722"/>
              <a:gd name="T25" fmla="*/ 137 h 557"/>
              <a:gd name="T26" fmla="*/ 107 w 722"/>
              <a:gd name="T27" fmla="*/ 136 h 557"/>
              <a:gd name="T28" fmla="*/ 111 w 722"/>
              <a:gd name="T29" fmla="*/ 134 h 557"/>
              <a:gd name="T30" fmla="*/ 120 w 722"/>
              <a:gd name="T31" fmla="*/ 126 h 557"/>
              <a:gd name="T32" fmla="*/ 129 w 722"/>
              <a:gd name="T33" fmla="*/ 120 h 557"/>
              <a:gd name="T34" fmla="*/ 140 w 722"/>
              <a:gd name="T35" fmla="*/ 108 h 557"/>
              <a:gd name="T36" fmla="*/ 153 w 722"/>
              <a:gd name="T37" fmla="*/ 89 h 557"/>
              <a:gd name="T38" fmla="*/ 155 w 722"/>
              <a:gd name="T39" fmla="*/ 84 h 557"/>
              <a:gd name="T40" fmla="*/ 158 w 722"/>
              <a:gd name="T41" fmla="*/ 79 h 557"/>
              <a:gd name="T42" fmla="*/ 167 w 722"/>
              <a:gd name="T43" fmla="*/ 74 h 557"/>
              <a:gd name="T44" fmla="*/ 170 w 722"/>
              <a:gd name="T45" fmla="*/ 69 h 557"/>
              <a:gd name="T46" fmla="*/ 172 w 722"/>
              <a:gd name="T47" fmla="*/ 63 h 557"/>
              <a:gd name="T48" fmla="*/ 174 w 722"/>
              <a:gd name="T49" fmla="*/ 59 h 557"/>
              <a:gd name="T50" fmla="*/ 178 w 722"/>
              <a:gd name="T51" fmla="*/ 56 h 557"/>
              <a:gd name="T52" fmla="*/ 181 w 722"/>
              <a:gd name="T53" fmla="*/ 50 h 557"/>
              <a:gd name="T54" fmla="*/ 161 w 722"/>
              <a:gd name="T55" fmla="*/ 54 h 557"/>
              <a:gd name="T56" fmla="*/ 149 w 722"/>
              <a:gd name="T57" fmla="*/ 54 h 557"/>
              <a:gd name="T58" fmla="*/ 143 w 722"/>
              <a:gd name="T59" fmla="*/ 50 h 557"/>
              <a:gd name="T60" fmla="*/ 137 w 722"/>
              <a:gd name="T61" fmla="*/ 44 h 557"/>
              <a:gd name="T62" fmla="*/ 132 w 722"/>
              <a:gd name="T63" fmla="*/ 41 h 557"/>
              <a:gd name="T64" fmla="*/ 126 w 722"/>
              <a:gd name="T65" fmla="*/ 40 h 557"/>
              <a:gd name="T66" fmla="*/ 124 w 722"/>
              <a:gd name="T67" fmla="*/ 36 h 557"/>
              <a:gd name="T68" fmla="*/ 122 w 722"/>
              <a:gd name="T69" fmla="*/ 31 h 557"/>
              <a:gd name="T70" fmla="*/ 117 w 722"/>
              <a:gd name="T71" fmla="*/ 33 h 557"/>
              <a:gd name="T72" fmla="*/ 114 w 722"/>
              <a:gd name="T73" fmla="*/ 34 h 557"/>
              <a:gd name="T74" fmla="*/ 112 w 722"/>
              <a:gd name="T75" fmla="*/ 30 h 557"/>
              <a:gd name="T76" fmla="*/ 114 w 722"/>
              <a:gd name="T77" fmla="*/ 23 h 557"/>
              <a:gd name="T78" fmla="*/ 113 w 722"/>
              <a:gd name="T79" fmla="*/ 9 h 557"/>
              <a:gd name="T80" fmla="*/ 108 w 722"/>
              <a:gd name="T81" fmla="*/ 0 h 557"/>
              <a:gd name="T82" fmla="*/ 101 w 722"/>
              <a:gd name="T83" fmla="*/ 2 h 557"/>
              <a:gd name="T84" fmla="*/ 94 w 722"/>
              <a:gd name="T85" fmla="*/ 7 h 557"/>
              <a:gd name="T86" fmla="*/ 93 w 722"/>
              <a:gd name="T87" fmla="*/ 13 h 557"/>
              <a:gd name="T88" fmla="*/ 90 w 722"/>
              <a:gd name="T89" fmla="*/ 15 h 557"/>
              <a:gd name="T90" fmla="*/ 87 w 722"/>
              <a:gd name="T91" fmla="*/ 15 h 557"/>
              <a:gd name="T92" fmla="*/ 84 w 722"/>
              <a:gd name="T93" fmla="*/ 13 h 557"/>
              <a:gd name="T94" fmla="*/ 81 w 722"/>
              <a:gd name="T95" fmla="*/ 10 h 557"/>
              <a:gd name="T96" fmla="*/ 79 w 722"/>
              <a:gd name="T97" fmla="*/ 11 h 557"/>
              <a:gd name="T98" fmla="*/ 56 w 722"/>
              <a:gd name="T99" fmla="*/ 13 h 557"/>
              <a:gd name="T100" fmla="*/ 47 w 722"/>
              <a:gd name="T101" fmla="*/ 27 h 557"/>
              <a:gd name="T102" fmla="*/ 41 w 722"/>
              <a:gd name="T103" fmla="*/ 32 h 557"/>
              <a:gd name="T104" fmla="*/ 33 w 722"/>
              <a:gd name="T105" fmla="*/ 34 h 557"/>
              <a:gd name="T106" fmla="*/ 18 w 722"/>
              <a:gd name="T107" fmla="*/ 35 h 557"/>
              <a:gd name="T108" fmla="*/ 10 w 722"/>
              <a:gd name="T109" fmla="*/ 40 h 557"/>
              <a:gd name="T110" fmla="*/ 6 w 722"/>
              <a:gd name="T111" fmla="*/ 44 h 557"/>
              <a:gd name="T112" fmla="*/ 6 w 722"/>
              <a:gd name="T113" fmla="*/ 48 h 557"/>
              <a:gd name="T114" fmla="*/ 11 w 722"/>
              <a:gd name="T115" fmla="*/ 52 h 557"/>
              <a:gd name="T116" fmla="*/ 14 w 722"/>
              <a:gd name="T117" fmla="*/ 57 h 557"/>
              <a:gd name="T118" fmla="*/ 13 w 722"/>
              <a:gd name="T119" fmla="*/ 62 h 557"/>
              <a:gd name="T120" fmla="*/ 5 w 722"/>
              <a:gd name="T121" fmla="*/ 73 h 557"/>
              <a:gd name="T122" fmla="*/ 1 w 722"/>
              <a:gd name="T123" fmla="*/ 76 h 557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722"/>
              <a:gd name="T187" fmla="*/ 0 h 557"/>
              <a:gd name="T188" fmla="*/ 722 w 722"/>
              <a:gd name="T189" fmla="*/ 557 h 557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722" h="557">
                <a:moveTo>
                  <a:pt x="0" y="313"/>
                </a:moveTo>
                <a:lnTo>
                  <a:pt x="12" y="313"/>
                </a:lnTo>
                <a:lnTo>
                  <a:pt x="23" y="309"/>
                </a:lnTo>
                <a:lnTo>
                  <a:pt x="35" y="301"/>
                </a:lnTo>
                <a:lnTo>
                  <a:pt x="54" y="280"/>
                </a:lnTo>
                <a:lnTo>
                  <a:pt x="67" y="259"/>
                </a:lnTo>
                <a:lnTo>
                  <a:pt x="79" y="251"/>
                </a:lnTo>
                <a:lnTo>
                  <a:pt x="86" y="251"/>
                </a:lnTo>
                <a:lnTo>
                  <a:pt x="98" y="251"/>
                </a:lnTo>
                <a:lnTo>
                  <a:pt x="106" y="255"/>
                </a:lnTo>
                <a:lnTo>
                  <a:pt x="125" y="265"/>
                </a:lnTo>
                <a:lnTo>
                  <a:pt x="140" y="280"/>
                </a:lnTo>
                <a:lnTo>
                  <a:pt x="152" y="284"/>
                </a:lnTo>
                <a:lnTo>
                  <a:pt x="163" y="288"/>
                </a:lnTo>
                <a:lnTo>
                  <a:pt x="175" y="297"/>
                </a:lnTo>
                <a:lnTo>
                  <a:pt x="265" y="489"/>
                </a:lnTo>
                <a:lnTo>
                  <a:pt x="284" y="491"/>
                </a:lnTo>
                <a:lnTo>
                  <a:pt x="303" y="499"/>
                </a:lnTo>
                <a:lnTo>
                  <a:pt x="313" y="511"/>
                </a:lnTo>
                <a:lnTo>
                  <a:pt x="324" y="520"/>
                </a:lnTo>
                <a:lnTo>
                  <a:pt x="347" y="547"/>
                </a:lnTo>
                <a:lnTo>
                  <a:pt x="355" y="553"/>
                </a:lnTo>
                <a:lnTo>
                  <a:pt x="367" y="557"/>
                </a:lnTo>
                <a:lnTo>
                  <a:pt x="394" y="557"/>
                </a:lnTo>
                <a:lnTo>
                  <a:pt x="394" y="553"/>
                </a:lnTo>
                <a:lnTo>
                  <a:pt x="397" y="549"/>
                </a:lnTo>
                <a:lnTo>
                  <a:pt x="409" y="547"/>
                </a:lnTo>
                <a:lnTo>
                  <a:pt x="430" y="547"/>
                </a:lnTo>
                <a:lnTo>
                  <a:pt x="438" y="547"/>
                </a:lnTo>
                <a:lnTo>
                  <a:pt x="445" y="539"/>
                </a:lnTo>
                <a:lnTo>
                  <a:pt x="465" y="524"/>
                </a:lnTo>
                <a:lnTo>
                  <a:pt x="480" y="507"/>
                </a:lnTo>
                <a:lnTo>
                  <a:pt x="499" y="495"/>
                </a:lnTo>
                <a:lnTo>
                  <a:pt x="514" y="482"/>
                </a:lnTo>
                <a:lnTo>
                  <a:pt x="530" y="466"/>
                </a:lnTo>
                <a:lnTo>
                  <a:pt x="559" y="432"/>
                </a:lnTo>
                <a:lnTo>
                  <a:pt x="585" y="392"/>
                </a:lnTo>
                <a:lnTo>
                  <a:pt x="612" y="359"/>
                </a:lnTo>
                <a:lnTo>
                  <a:pt x="620" y="347"/>
                </a:lnTo>
                <a:lnTo>
                  <a:pt x="620" y="338"/>
                </a:lnTo>
                <a:lnTo>
                  <a:pt x="624" y="326"/>
                </a:lnTo>
                <a:lnTo>
                  <a:pt x="632" y="317"/>
                </a:lnTo>
                <a:lnTo>
                  <a:pt x="655" y="305"/>
                </a:lnTo>
                <a:lnTo>
                  <a:pt x="666" y="297"/>
                </a:lnTo>
                <a:lnTo>
                  <a:pt x="676" y="288"/>
                </a:lnTo>
                <a:lnTo>
                  <a:pt x="680" y="276"/>
                </a:lnTo>
                <a:lnTo>
                  <a:pt x="683" y="265"/>
                </a:lnTo>
                <a:lnTo>
                  <a:pt x="687" y="255"/>
                </a:lnTo>
                <a:lnTo>
                  <a:pt x="695" y="244"/>
                </a:lnTo>
                <a:lnTo>
                  <a:pt x="695" y="236"/>
                </a:lnTo>
                <a:lnTo>
                  <a:pt x="699" y="230"/>
                </a:lnTo>
                <a:lnTo>
                  <a:pt x="710" y="226"/>
                </a:lnTo>
                <a:lnTo>
                  <a:pt x="722" y="219"/>
                </a:lnTo>
                <a:lnTo>
                  <a:pt x="722" y="203"/>
                </a:lnTo>
                <a:lnTo>
                  <a:pt x="670" y="215"/>
                </a:lnTo>
                <a:lnTo>
                  <a:pt x="643" y="219"/>
                </a:lnTo>
                <a:lnTo>
                  <a:pt x="612" y="219"/>
                </a:lnTo>
                <a:lnTo>
                  <a:pt x="593" y="219"/>
                </a:lnTo>
                <a:lnTo>
                  <a:pt x="582" y="211"/>
                </a:lnTo>
                <a:lnTo>
                  <a:pt x="570" y="203"/>
                </a:lnTo>
                <a:lnTo>
                  <a:pt x="562" y="198"/>
                </a:lnTo>
                <a:lnTo>
                  <a:pt x="545" y="178"/>
                </a:lnTo>
                <a:lnTo>
                  <a:pt x="537" y="173"/>
                </a:lnTo>
                <a:lnTo>
                  <a:pt x="526" y="165"/>
                </a:lnTo>
                <a:lnTo>
                  <a:pt x="514" y="161"/>
                </a:lnTo>
                <a:lnTo>
                  <a:pt x="507" y="161"/>
                </a:lnTo>
                <a:lnTo>
                  <a:pt x="503" y="157"/>
                </a:lnTo>
                <a:lnTo>
                  <a:pt x="499" y="144"/>
                </a:lnTo>
                <a:lnTo>
                  <a:pt x="499" y="121"/>
                </a:lnTo>
                <a:lnTo>
                  <a:pt x="488" y="125"/>
                </a:lnTo>
                <a:lnTo>
                  <a:pt x="480" y="129"/>
                </a:lnTo>
                <a:lnTo>
                  <a:pt x="468" y="132"/>
                </a:lnTo>
                <a:lnTo>
                  <a:pt x="461" y="132"/>
                </a:lnTo>
                <a:lnTo>
                  <a:pt x="457" y="136"/>
                </a:lnTo>
                <a:lnTo>
                  <a:pt x="442" y="132"/>
                </a:lnTo>
                <a:lnTo>
                  <a:pt x="449" y="121"/>
                </a:lnTo>
                <a:lnTo>
                  <a:pt x="465" y="107"/>
                </a:lnTo>
                <a:lnTo>
                  <a:pt x="457" y="92"/>
                </a:lnTo>
                <a:lnTo>
                  <a:pt x="453" y="71"/>
                </a:lnTo>
                <a:lnTo>
                  <a:pt x="453" y="38"/>
                </a:lnTo>
                <a:lnTo>
                  <a:pt x="453" y="0"/>
                </a:lnTo>
                <a:lnTo>
                  <a:pt x="434" y="0"/>
                </a:lnTo>
                <a:lnTo>
                  <a:pt x="420" y="6"/>
                </a:lnTo>
                <a:lnTo>
                  <a:pt x="405" y="10"/>
                </a:lnTo>
                <a:lnTo>
                  <a:pt x="394" y="17"/>
                </a:lnTo>
                <a:lnTo>
                  <a:pt x="378" y="29"/>
                </a:lnTo>
                <a:lnTo>
                  <a:pt x="374" y="38"/>
                </a:lnTo>
                <a:lnTo>
                  <a:pt x="374" y="54"/>
                </a:lnTo>
                <a:lnTo>
                  <a:pt x="367" y="59"/>
                </a:lnTo>
                <a:lnTo>
                  <a:pt x="363" y="63"/>
                </a:lnTo>
                <a:lnTo>
                  <a:pt x="355" y="67"/>
                </a:lnTo>
                <a:lnTo>
                  <a:pt x="347" y="63"/>
                </a:lnTo>
                <a:lnTo>
                  <a:pt x="344" y="63"/>
                </a:lnTo>
                <a:lnTo>
                  <a:pt x="336" y="54"/>
                </a:lnTo>
                <a:lnTo>
                  <a:pt x="328" y="46"/>
                </a:lnTo>
                <a:lnTo>
                  <a:pt x="324" y="42"/>
                </a:lnTo>
                <a:lnTo>
                  <a:pt x="317" y="42"/>
                </a:lnTo>
                <a:lnTo>
                  <a:pt x="313" y="46"/>
                </a:lnTo>
                <a:lnTo>
                  <a:pt x="309" y="54"/>
                </a:lnTo>
                <a:lnTo>
                  <a:pt x="227" y="54"/>
                </a:lnTo>
                <a:lnTo>
                  <a:pt x="207" y="83"/>
                </a:lnTo>
                <a:lnTo>
                  <a:pt x="188" y="111"/>
                </a:lnTo>
                <a:lnTo>
                  <a:pt x="179" y="121"/>
                </a:lnTo>
                <a:lnTo>
                  <a:pt x="163" y="129"/>
                </a:lnTo>
                <a:lnTo>
                  <a:pt x="148" y="136"/>
                </a:lnTo>
                <a:lnTo>
                  <a:pt x="132" y="136"/>
                </a:lnTo>
                <a:lnTo>
                  <a:pt x="94" y="136"/>
                </a:lnTo>
                <a:lnTo>
                  <a:pt x="71" y="140"/>
                </a:lnTo>
                <a:lnTo>
                  <a:pt x="46" y="150"/>
                </a:lnTo>
                <a:lnTo>
                  <a:pt x="38" y="161"/>
                </a:lnTo>
                <a:lnTo>
                  <a:pt x="31" y="169"/>
                </a:lnTo>
                <a:lnTo>
                  <a:pt x="23" y="178"/>
                </a:lnTo>
                <a:lnTo>
                  <a:pt x="23" y="190"/>
                </a:lnTo>
                <a:lnTo>
                  <a:pt x="23" y="194"/>
                </a:lnTo>
                <a:lnTo>
                  <a:pt x="27" y="202"/>
                </a:lnTo>
                <a:lnTo>
                  <a:pt x="42" y="211"/>
                </a:lnTo>
                <a:lnTo>
                  <a:pt x="54" y="223"/>
                </a:lnTo>
                <a:lnTo>
                  <a:pt x="58" y="230"/>
                </a:lnTo>
                <a:lnTo>
                  <a:pt x="58" y="232"/>
                </a:lnTo>
                <a:lnTo>
                  <a:pt x="54" y="251"/>
                </a:lnTo>
                <a:lnTo>
                  <a:pt x="38" y="273"/>
                </a:lnTo>
                <a:lnTo>
                  <a:pt x="19" y="294"/>
                </a:lnTo>
                <a:lnTo>
                  <a:pt x="12" y="301"/>
                </a:lnTo>
                <a:lnTo>
                  <a:pt x="4" y="305"/>
                </a:lnTo>
                <a:lnTo>
                  <a:pt x="0" y="313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19" name="Freeform 460"/>
          <p:cNvSpPr>
            <a:spLocks/>
          </p:cNvSpPr>
          <p:nvPr/>
        </p:nvSpPr>
        <p:spPr bwMode="gray">
          <a:xfrm>
            <a:off x="7077204" y="4304041"/>
            <a:ext cx="117229" cy="52914"/>
          </a:xfrm>
          <a:custGeom>
            <a:avLst/>
            <a:gdLst>
              <a:gd name="T0" fmla="*/ 13 w 303"/>
              <a:gd name="T1" fmla="*/ 25 h 136"/>
              <a:gd name="T2" fmla="*/ 7 w 303"/>
              <a:gd name="T3" fmla="*/ 27 h 136"/>
              <a:gd name="T4" fmla="*/ 2 w 303"/>
              <a:gd name="T5" fmla="*/ 29 h 136"/>
              <a:gd name="T6" fmla="*/ 0 w 303"/>
              <a:gd name="T7" fmla="*/ 27 h 136"/>
              <a:gd name="T8" fmla="*/ 0 w 303"/>
              <a:gd name="T9" fmla="*/ 18 h 136"/>
              <a:gd name="T10" fmla="*/ 3 w 303"/>
              <a:gd name="T11" fmla="*/ 10 h 136"/>
              <a:gd name="T12" fmla="*/ 7 w 303"/>
              <a:gd name="T13" fmla="*/ 9 h 136"/>
              <a:gd name="T14" fmla="*/ 10 w 303"/>
              <a:gd name="T15" fmla="*/ 17 h 136"/>
              <a:gd name="T16" fmla="*/ 11 w 303"/>
              <a:gd name="T17" fmla="*/ 18 h 136"/>
              <a:gd name="T18" fmla="*/ 17 w 303"/>
              <a:gd name="T19" fmla="*/ 18 h 136"/>
              <a:gd name="T20" fmla="*/ 19 w 303"/>
              <a:gd name="T21" fmla="*/ 20 h 136"/>
              <a:gd name="T22" fmla="*/ 20 w 303"/>
              <a:gd name="T23" fmla="*/ 24 h 136"/>
              <a:gd name="T24" fmla="*/ 23 w 303"/>
              <a:gd name="T25" fmla="*/ 24 h 136"/>
              <a:gd name="T26" fmla="*/ 26 w 303"/>
              <a:gd name="T27" fmla="*/ 21 h 136"/>
              <a:gd name="T28" fmla="*/ 39 w 303"/>
              <a:gd name="T29" fmla="*/ 19 h 136"/>
              <a:gd name="T30" fmla="*/ 47 w 303"/>
              <a:gd name="T31" fmla="*/ 17 h 136"/>
              <a:gd name="T32" fmla="*/ 56 w 303"/>
              <a:gd name="T33" fmla="*/ 9 h 136"/>
              <a:gd name="T34" fmla="*/ 73 w 303"/>
              <a:gd name="T35" fmla="*/ 0 h 136"/>
              <a:gd name="T36" fmla="*/ 76 w 303"/>
              <a:gd name="T37" fmla="*/ 2 h 136"/>
              <a:gd name="T38" fmla="*/ 68 w 303"/>
              <a:gd name="T39" fmla="*/ 11 h 136"/>
              <a:gd name="T40" fmla="*/ 68 w 303"/>
              <a:gd name="T41" fmla="*/ 18 h 136"/>
              <a:gd name="T42" fmla="*/ 70 w 303"/>
              <a:gd name="T43" fmla="*/ 24 h 136"/>
              <a:gd name="T44" fmla="*/ 70 w 303"/>
              <a:gd name="T45" fmla="*/ 28 h 136"/>
              <a:gd name="T46" fmla="*/ 64 w 303"/>
              <a:gd name="T47" fmla="*/ 31 h 136"/>
              <a:gd name="T48" fmla="*/ 58 w 303"/>
              <a:gd name="T49" fmla="*/ 31 h 136"/>
              <a:gd name="T50" fmla="*/ 54 w 303"/>
              <a:gd name="T51" fmla="*/ 25 h 136"/>
              <a:gd name="T52" fmla="*/ 48 w 303"/>
              <a:gd name="T53" fmla="*/ 27 h 136"/>
              <a:gd name="T54" fmla="*/ 45 w 303"/>
              <a:gd name="T55" fmla="*/ 32 h 136"/>
              <a:gd name="T56" fmla="*/ 34 w 303"/>
              <a:gd name="T57" fmla="*/ 34 h 136"/>
              <a:gd name="T58" fmla="*/ 29 w 303"/>
              <a:gd name="T59" fmla="*/ 33 h 136"/>
              <a:gd name="T60" fmla="*/ 27 w 303"/>
              <a:gd name="T61" fmla="*/ 29 h 136"/>
              <a:gd name="T62" fmla="*/ 22 w 303"/>
              <a:gd name="T63" fmla="*/ 30 h 136"/>
              <a:gd name="T64" fmla="*/ 17 w 303"/>
              <a:gd name="T65" fmla="*/ 32 h 1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303"/>
              <a:gd name="T100" fmla="*/ 0 h 136"/>
              <a:gd name="T101" fmla="*/ 303 w 303"/>
              <a:gd name="T102" fmla="*/ 136 h 1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303" h="136">
                <a:moveTo>
                  <a:pt x="50" y="132"/>
                </a:moveTo>
                <a:lnTo>
                  <a:pt x="50" y="100"/>
                </a:lnTo>
                <a:lnTo>
                  <a:pt x="39" y="103"/>
                </a:lnTo>
                <a:lnTo>
                  <a:pt x="27" y="109"/>
                </a:lnTo>
                <a:lnTo>
                  <a:pt x="15" y="113"/>
                </a:lnTo>
                <a:lnTo>
                  <a:pt x="8" y="117"/>
                </a:lnTo>
                <a:lnTo>
                  <a:pt x="4" y="113"/>
                </a:lnTo>
                <a:lnTo>
                  <a:pt x="0" y="109"/>
                </a:lnTo>
                <a:lnTo>
                  <a:pt x="0" y="92"/>
                </a:lnTo>
                <a:lnTo>
                  <a:pt x="0" y="75"/>
                </a:lnTo>
                <a:lnTo>
                  <a:pt x="4" y="57"/>
                </a:lnTo>
                <a:lnTo>
                  <a:pt x="12" y="42"/>
                </a:lnTo>
                <a:lnTo>
                  <a:pt x="19" y="29"/>
                </a:lnTo>
                <a:lnTo>
                  <a:pt x="27" y="34"/>
                </a:lnTo>
                <a:lnTo>
                  <a:pt x="31" y="46"/>
                </a:lnTo>
                <a:lnTo>
                  <a:pt x="39" y="67"/>
                </a:lnTo>
                <a:lnTo>
                  <a:pt x="39" y="71"/>
                </a:lnTo>
                <a:lnTo>
                  <a:pt x="42" y="75"/>
                </a:lnTo>
                <a:lnTo>
                  <a:pt x="54" y="75"/>
                </a:lnTo>
                <a:lnTo>
                  <a:pt x="65" y="75"/>
                </a:lnTo>
                <a:lnTo>
                  <a:pt x="73" y="79"/>
                </a:lnTo>
                <a:lnTo>
                  <a:pt x="75" y="82"/>
                </a:lnTo>
                <a:lnTo>
                  <a:pt x="79" y="88"/>
                </a:lnTo>
                <a:lnTo>
                  <a:pt x="79" y="96"/>
                </a:lnTo>
                <a:lnTo>
                  <a:pt x="86" y="96"/>
                </a:lnTo>
                <a:lnTo>
                  <a:pt x="90" y="96"/>
                </a:lnTo>
                <a:lnTo>
                  <a:pt x="94" y="92"/>
                </a:lnTo>
                <a:lnTo>
                  <a:pt x="102" y="84"/>
                </a:lnTo>
                <a:lnTo>
                  <a:pt x="129" y="82"/>
                </a:lnTo>
                <a:lnTo>
                  <a:pt x="156" y="79"/>
                </a:lnTo>
                <a:lnTo>
                  <a:pt x="179" y="71"/>
                </a:lnTo>
                <a:lnTo>
                  <a:pt x="186" y="67"/>
                </a:lnTo>
                <a:lnTo>
                  <a:pt x="198" y="59"/>
                </a:lnTo>
                <a:lnTo>
                  <a:pt x="221" y="38"/>
                </a:lnTo>
                <a:lnTo>
                  <a:pt x="244" y="25"/>
                </a:lnTo>
                <a:lnTo>
                  <a:pt x="292" y="0"/>
                </a:lnTo>
                <a:lnTo>
                  <a:pt x="303" y="0"/>
                </a:lnTo>
                <a:lnTo>
                  <a:pt x="303" y="9"/>
                </a:lnTo>
                <a:lnTo>
                  <a:pt x="280" y="31"/>
                </a:lnTo>
                <a:lnTo>
                  <a:pt x="269" y="46"/>
                </a:lnTo>
                <a:lnTo>
                  <a:pt x="265" y="63"/>
                </a:lnTo>
                <a:lnTo>
                  <a:pt x="269" y="75"/>
                </a:lnTo>
                <a:lnTo>
                  <a:pt x="273" y="84"/>
                </a:lnTo>
                <a:lnTo>
                  <a:pt x="280" y="96"/>
                </a:lnTo>
                <a:lnTo>
                  <a:pt x="280" y="107"/>
                </a:lnTo>
                <a:lnTo>
                  <a:pt x="277" y="113"/>
                </a:lnTo>
                <a:lnTo>
                  <a:pt x="265" y="121"/>
                </a:lnTo>
                <a:lnTo>
                  <a:pt x="255" y="125"/>
                </a:lnTo>
                <a:lnTo>
                  <a:pt x="240" y="128"/>
                </a:lnTo>
                <a:lnTo>
                  <a:pt x="229" y="125"/>
                </a:lnTo>
                <a:lnTo>
                  <a:pt x="225" y="117"/>
                </a:lnTo>
                <a:lnTo>
                  <a:pt x="213" y="100"/>
                </a:lnTo>
                <a:lnTo>
                  <a:pt x="202" y="103"/>
                </a:lnTo>
                <a:lnTo>
                  <a:pt x="190" y="109"/>
                </a:lnTo>
                <a:lnTo>
                  <a:pt x="179" y="117"/>
                </a:lnTo>
                <a:lnTo>
                  <a:pt x="179" y="128"/>
                </a:lnTo>
                <a:lnTo>
                  <a:pt x="152" y="132"/>
                </a:lnTo>
                <a:lnTo>
                  <a:pt x="133" y="136"/>
                </a:lnTo>
                <a:lnTo>
                  <a:pt x="121" y="132"/>
                </a:lnTo>
                <a:lnTo>
                  <a:pt x="113" y="132"/>
                </a:lnTo>
                <a:lnTo>
                  <a:pt x="106" y="125"/>
                </a:lnTo>
                <a:lnTo>
                  <a:pt x="106" y="117"/>
                </a:lnTo>
                <a:lnTo>
                  <a:pt x="94" y="117"/>
                </a:lnTo>
                <a:lnTo>
                  <a:pt x="86" y="121"/>
                </a:lnTo>
                <a:lnTo>
                  <a:pt x="75" y="125"/>
                </a:lnTo>
                <a:lnTo>
                  <a:pt x="65" y="128"/>
                </a:lnTo>
                <a:lnTo>
                  <a:pt x="50" y="132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20" name="Freeform 462"/>
          <p:cNvSpPr>
            <a:spLocks/>
          </p:cNvSpPr>
          <p:nvPr/>
        </p:nvSpPr>
        <p:spPr bwMode="gray">
          <a:xfrm>
            <a:off x="7074889" y="4335168"/>
            <a:ext cx="208236" cy="236555"/>
          </a:xfrm>
          <a:custGeom>
            <a:avLst/>
            <a:gdLst>
              <a:gd name="T0" fmla="*/ 30 w 540"/>
              <a:gd name="T1" fmla="*/ 33 h 609"/>
              <a:gd name="T2" fmla="*/ 39 w 540"/>
              <a:gd name="T3" fmla="*/ 28 h 609"/>
              <a:gd name="T4" fmla="*/ 54 w 540"/>
              <a:gd name="T5" fmla="*/ 23 h 609"/>
              <a:gd name="T6" fmla="*/ 68 w 540"/>
              <a:gd name="T7" fmla="*/ 20 h 609"/>
              <a:gd name="T8" fmla="*/ 82 w 540"/>
              <a:gd name="T9" fmla="*/ 17 h 609"/>
              <a:gd name="T10" fmla="*/ 88 w 540"/>
              <a:gd name="T11" fmla="*/ 6 h 609"/>
              <a:gd name="T12" fmla="*/ 99 w 540"/>
              <a:gd name="T13" fmla="*/ 6 h 609"/>
              <a:gd name="T14" fmla="*/ 104 w 540"/>
              <a:gd name="T15" fmla="*/ 6 h 609"/>
              <a:gd name="T16" fmla="*/ 109 w 540"/>
              <a:gd name="T17" fmla="*/ 2 h 609"/>
              <a:gd name="T18" fmla="*/ 117 w 540"/>
              <a:gd name="T19" fmla="*/ 3 h 609"/>
              <a:gd name="T20" fmla="*/ 121 w 540"/>
              <a:gd name="T21" fmla="*/ 7 h 609"/>
              <a:gd name="T22" fmla="*/ 118 w 540"/>
              <a:gd name="T23" fmla="*/ 13 h 609"/>
              <a:gd name="T24" fmla="*/ 135 w 540"/>
              <a:gd name="T25" fmla="*/ 7 h 609"/>
              <a:gd name="T26" fmla="*/ 131 w 540"/>
              <a:gd name="T27" fmla="*/ 14 h 609"/>
              <a:gd name="T28" fmla="*/ 124 w 540"/>
              <a:gd name="T29" fmla="*/ 21 h 609"/>
              <a:gd name="T30" fmla="*/ 98 w 540"/>
              <a:gd name="T31" fmla="*/ 53 h 609"/>
              <a:gd name="T32" fmla="*/ 89 w 540"/>
              <a:gd name="T33" fmla="*/ 61 h 609"/>
              <a:gd name="T34" fmla="*/ 79 w 540"/>
              <a:gd name="T35" fmla="*/ 68 h 609"/>
              <a:gd name="T36" fmla="*/ 75 w 540"/>
              <a:gd name="T37" fmla="*/ 78 h 609"/>
              <a:gd name="T38" fmla="*/ 71 w 540"/>
              <a:gd name="T39" fmla="*/ 85 h 609"/>
              <a:gd name="T40" fmla="*/ 65 w 540"/>
              <a:gd name="T41" fmla="*/ 83 h 609"/>
              <a:gd name="T42" fmla="*/ 58 w 540"/>
              <a:gd name="T43" fmla="*/ 82 h 609"/>
              <a:gd name="T44" fmla="*/ 57 w 540"/>
              <a:gd name="T45" fmla="*/ 87 h 609"/>
              <a:gd name="T46" fmla="*/ 53 w 540"/>
              <a:gd name="T47" fmla="*/ 92 h 609"/>
              <a:gd name="T48" fmla="*/ 55 w 540"/>
              <a:gd name="T49" fmla="*/ 99 h 609"/>
              <a:gd name="T50" fmla="*/ 53 w 540"/>
              <a:gd name="T51" fmla="*/ 111 h 609"/>
              <a:gd name="T52" fmla="*/ 45 w 540"/>
              <a:gd name="T53" fmla="*/ 135 h 609"/>
              <a:gd name="T54" fmla="*/ 38 w 540"/>
              <a:gd name="T55" fmla="*/ 137 h 609"/>
              <a:gd name="T56" fmla="*/ 39 w 540"/>
              <a:gd name="T57" fmla="*/ 144 h 609"/>
              <a:gd name="T58" fmla="*/ 34 w 540"/>
              <a:gd name="T59" fmla="*/ 151 h 609"/>
              <a:gd name="T60" fmla="*/ 28 w 540"/>
              <a:gd name="T61" fmla="*/ 150 h 609"/>
              <a:gd name="T62" fmla="*/ 19 w 540"/>
              <a:gd name="T63" fmla="*/ 144 h 609"/>
              <a:gd name="T64" fmla="*/ 13 w 540"/>
              <a:gd name="T65" fmla="*/ 147 h 609"/>
              <a:gd name="T66" fmla="*/ 6 w 540"/>
              <a:gd name="T67" fmla="*/ 137 h 609"/>
              <a:gd name="T68" fmla="*/ 3 w 540"/>
              <a:gd name="T69" fmla="*/ 116 h 609"/>
              <a:gd name="T70" fmla="*/ 5 w 540"/>
              <a:gd name="T71" fmla="*/ 108 h 609"/>
              <a:gd name="T72" fmla="*/ 0 w 540"/>
              <a:gd name="T73" fmla="*/ 116 h 609"/>
              <a:gd name="T74" fmla="*/ 20 w 540"/>
              <a:gd name="T75" fmla="*/ 79 h 609"/>
              <a:gd name="T76" fmla="*/ 30 w 540"/>
              <a:gd name="T77" fmla="*/ 66 h 609"/>
              <a:gd name="T78" fmla="*/ 36 w 540"/>
              <a:gd name="T79" fmla="*/ 65 h 609"/>
              <a:gd name="T80" fmla="*/ 41 w 540"/>
              <a:gd name="T81" fmla="*/ 65 h 609"/>
              <a:gd name="T82" fmla="*/ 54 w 540"/>
              <a:gd name="T83" fmla="*/ 50 h 609"/>
              <a:gd name="T84" fmla="*/ 57 w 540"/>
              <a:gd name="T85" fmla="*/ 44 h 609"/>
              <a:gd name="T86" fmla="*/ 43 w 540"/>
              <a:gd name="T87" fmla="*/ 51 h 609"/>
              <a:gd name="T88" fmla="*/ 31 w 540"/>
              <a:gd name="T89" fmla="*/ 56 h 609"/>
              <a:gd name="T90" fmla="*/ 18 w 540"/>
              <a:gd name="T91" fmla="*/ 66 h 609"/>
              <a:gd name="T92" fmla="*/ 17 w 540"/>
              <a:gd name="T93" fmla="*/ 59 h 609"/>
              <a:gd name="T94" fmla="*/ 28 w 540"/>
              <a:gd name="T95" fmla="*/ 38 h 60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540"/>
              <a:gd name="T145" fmla="*/ 0 h 609"/>
              <a:gd name="T146" fmla="*/ 540 w 540"/>
              <a:gd name="T147" fmla="*/ 609 h 609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540" h="609">
                <a:moveTo>
                  <a:pt x="114" y="156"/>
                </a:moveTo>
                <a:lnTo>
                  <a:pt x="117" y="144"/>
                </a:lnTo>
                <a:lnTo>
                  <a:pt x="121" y="135"/>
                </a:lnTo>
                <a:lnTo>
                  <a:pt x="125" y="123"/>
                </a:lnTo>
                <a:lnTo>
                  <a:pt x="133" y="112"/>
                </a:lnTo>
                <a:lnTo>
                  <a:pt x="158" y="112"/>
                </a:lnTo>
                <a:lnTo>
                  <a:pt x="177" y="112"/>
                </a:lnTo>
                <a:lnTo>
                  <a:pt x="192" y="106"/>
                </a:lnTo>
                <a:lnTo>
                  <a:pt x="219" y="94"/>
                </a:lnTo>
                <a:lnTo>
                  <a:pt x="250" y="85"/>
                </a:lnTo>
                <a:lnTo>
                  <a:pt x="259" y="81"/>
                </a:lnTo>
                <a:lnTo>
                  <a:pt x="275" y="81"/>
                </a:lnTo>
                <a:lnTo>
                  <a:pt x="302" y="81"/>
                </a:lnTo>
                <a:lnTo>
                  <a:pt x="317" y="77"/>
                </a:lnTo>
                <a:lnTo>
                  <a:pt x="329" y="70"/>
                </a:lnTo>
                <a:lnTo>
                  <a:pt x="336" y="62"/>
                </a:lnTo>
                <a:lnTo>
                  <a:pt x="344" y="52"/>
                </a:lnTo>
                <a:lnTo>
                  <a:pt x="355" y="27"/>
                </a:lnTo>
                <a:lnTo>
                  <a:pt x="371" y="0"/>
                </a:lnTo>
                <a:lnTo>
                  <a:pt x="384" y="20"/>
                </a:lnTo>
                <a:lnTo>
                  <a:pt x="396" y="27"/>
                </a:lnTo>
                <a:lnTo>
                  <a:pt x="407" y="29"/>
                </a:lnTo>
                <a:lnTo>
                  <a:pt x="411" y="29"/>
                </a:lnTo>
                <a:lnTo>
                  <a:pt x="419" y="27"/>
                </a:lnTo>
                <a:lnTo>
                  <a:pt x="426" y="20"/>
                </a:lnTo>
                <a:lnTo>
                  <a:pt x="434" y="8"/>
                </a:lnTo>
                <a:lnTo>
                  <a:pt x="438" y="8"/>
                </a:lnTo>
                <a:lnTo>
                  <a:pt x="446" y="4"/>
                </a:lnTo>
                <a:lnTo>
                  <a:pt x="457" y="8"/>
                </a:lnTo>
                <a:lnTo>
                  <a:pt x="469" y="12"/>
                </a:lnTo>
                <a:lnTo>
                  <a:pt x="484" y="20"/>
                </a:lnTo>
                <a:lnTo>
                  <a:pt x="494" y="20"/>
                </a:lnTo>
                <a:lnTo>
                  <a:pt x="486" y="29"/>
                </a:lnTo>
                <a:lnTo>
                  <a:pt x="480" y="37"/>
                </a:lnTo>
                <a:lnTo>
                  <a:pt x="473" y="45"/>
                </a:lnTo>
                <a:lnTo>
                  <a:pt x="473" y="52"/>
                </a:lnTo>
                <a:lnTo>
                  <a:pt x="501" y="41"/>
                </a:lnTo>
                <a:lnTo>
                  <a:pt x="524" y="33"/>
                </a:lnTo>
                <a:lnTo>
                  <a:pt x="540" y="29"/>
                </a:lnTo>
                <a:lnTo>
                  <a:pt x="540" y="41"/>
                </a:lnTo>
                <a:lnTo>
                  <a:pt x="532" y="52"/>
                </a:lnTo>
                <a:lnTo>
                  <a:pt x="524" y="58"/>
                </a:lnTo>
                <a:lnTo>
                  <a:pt x="509" y="62"/>
                </a:lnTo>
                <a:lnTo>
                  <a:pt x="505" y="73"/>
                </a:lnTo>
                <a:lnTo>
                  <a:pt x="498" y="87"/>
                </a:lnTo>
                <a:lnTo>
                  <a:pt x="473" y="116"/>
                </a:lnTo>
                <a:lnTo>
                  <a:pt x="426" y="164"/>
                </a:lnTo>
                <a:lnTo>
                  <a:pt x="392" y="213"/>
                </a:lnTo>
                <a:lnTo>
                  <a:pt x="377" y="227"/>
                </a:lnTo>
                <a:lnTo>
                  <a:pt x="367" y="242"/>
                </a:lnTo>
                <a:lnTo>
                  <a:pt x="359" y="246"/>
                </a:lnTo>
                <a:lnTo>
                  <a:pt x="352" y="246"/>
                </a:lnTo>
                <a:lnTo>
                  <a:pt x="348" y="246"/>
                </a:lnTo>
                <a:lnTo>
                  <a:pt x="317" y="275"/>
                </a:lnTo>
                <a:lnTo>
                  <a:pt x="306" y="292"/>
                </a:lnTo>
                <a:lnTo>
                  <a:pt x="298" y="308"/>
                </a:lnTo>
                <a:lnTo>
                  <a:pt x="302" y="313"/>
                </a:lnTo>
                <a:lnTo>
                  <a:pt x="309" y="325"/>
                </a:lnTo>
                <a:lnTo>
                  <a:pt x="294" y="340"/>
                </a:lnTo>
                <a:lnTo>
                  <a:pt x="286" y="342"/>
                </a:lnTo>
                <a:lnTo>
                  <a:pt x="275" y="342"/>
                </a:lnTo>
                <a:lnTo>
                  <a:pt x="263" y="340"/>
                </a:lnTo>
                <a:lnTo>
                  <a:pt x="258" y="332"/>
                </a:lnTo>
                <a:lnTo>
                  <a:pt x="254" y="329"/>
                </a:lnTo>
                <a:lnTo>
                  <a:pt x="242" y="325"/>
                </a:lnTo>
                <a:lnTo>
                  <a:pt x="235" y="329"/>
                </a:lnTo>
                <a:lnTo>
                  <a:pt x="235" y="336"/>
                </a:lnTo>
                <a:lnTo>
                  <a:pt x="242" y="350"/>
                </a:lnTo>
                <a:lnTo>
                  <a:pt x="231" y="350"/>
                </a:lnTo>
                <a:lnTo>
                  <a:pt x="219" y="357"/>
                </a:lnTo>
                <a:lnTo>
                  <a:pt x="212" y="365"/>
                </a:lnTo>
                <a:lnTo>
                  <a:pt x="212" y="371"/>
                </a:lnTo>
                <a:lnTo>
                  <a:pt x="212" y="379"/>
                </a:lnTo>
                <a:lnTo>
                  <a:pt x="219" y="386"/>
                </a:lnTo>
                <a:lnTo>
                  <a:pt x="223" y="398"/>
                </a:lnTo>
                <a:lnTo>
                  <a:pt x="227" y="407"/>
                </a:lnTo>
                <a:lnTo>
                  <a:pt x="219" y="428"/>
                </a:lnTo>
                <a:lnTo>
                  <a:pt x="215" y="444"/>
                </a:lnTo>
                <a:lnTo>
                  <a:pt x="192" y="490"/>
                </a:lnTo>
                <a:lnTo>
                  <a:pt x="185" y="515"/>
                </a:lnTo>
                <a:lnTo>
                  <a:pt x="181" y="540"/>
                </a:lnTo>
                <a:lnTo>
                  <a:pt x="162" y="544"/>
                </a:lnTo>
                <a:lnTo>
                  <a:pt x="158" y="547"/>
                </a:lnTo>
                <a:lnTo>
                  <a:pt x="154" y="551"/>
                </a:lnTo>
                <a:lnTo>
                  <a:pt x="158" y="559"/>
                </a:lnTo>
                <a:lnTo>
                  <a:pt x="165" y="563"/>
                </a:lnTo>
                <a:lnTo>
                  <a:pt x="158" y="576"/>
                </a:lnTo>
                <a:lnTo>
                  <a:pt x="150" y="592"/>
                </a:lnTo>
                <a:lnTo>
                  <a:pt x="140" y="601"/>
                </a:lnTo>
                <a:lnTo>
                  <a:pt x="133" y="605"/>
                </a:lnTo>
                <a:lnTo>
                  <a:pt x="129" y="609"/>
                </a:lnTo>
                <a:lnTo>
                  <a:pt x="117" y="605"/>
                </a:lnTo>
                <a:lnTo>
                  <a:pt x="114" y="601"/>
                </a:lnTo>
                <a:lnTo>
                  <a:pt x="98" y="592"/>
                </a:lnTo>
                <a:lnTo>
                  <a:pt x="87" y="580"/>
                </a:lnTo>
                <a:lnTo>
                  <a:pt x="79" y="576"/>
                </a:lnTo>
                <a:lnTo>
                  <a:pt x="68" y="572"/>
                </a:lnTo>
                <a:lnTo>
                  <a:pt x="64" y="595"/>
                </a:lnTo>
                <a:lnTo>
                  <a:pt x="52" y="588"/>
                </a:lnTo>
                <a:lnTo>
                  <a:pt x="41" y="580"/>
                </a:lnTo>
                <a:lnTo>
                  <a:pt x="33" y="567"/>
                </a:lnTo>
                <a:lnTo>
                  <a:pt x="27" y="551"/>
                </a:lnTo>
                <a:lnTo>
                  <a:pt x="16" y="515"/>
                </a:lnTo>
                <a:lnTo>
                  <a:pt x="12" y="482"/>
                </a:lnTo>
                <a:lnTo>
                  <a:pt x="12" y="465"/>
                </a:lnTo>
                <a:lnTo>
                  <a:pt x="20" y="451"/>
                </a:lnTo>
                <a:lnTo>
                  <a:pt x="31" y="427"/>
                </a:lnTo>
                <a:lnTo>
                  <a:pt x="20" y="432"/>
                </a:lnTo>
                <a:lnTo>
                  <a:pt x="8" y="444"/>
                </a:lnTo>
                <a:lnTo>
                  <a:pt x="4" y="455"/>
                </a:lnTo>
                <a:lnTo>
                  <a:pt x="0" y="465"/>
                </a:lnTo>
                <a:lnTo>
                  <a:pt x="33" y="400"/>
                </a:lnTo>
                <a:lnTo>
                  <a:pt x="68" y="340"/>
                </a:lnTo>
                <a:lnTo>
                  <a:pt x="83" y="317"/>
                </a:lnTo>
                <a:lnTo>
                  <a:pt x="102" y="300"/>
                </a:lnTo>
                <a:lnTo>
                  <a:pt x="117" y="279"/>
                </a:lnTo>
                <a:lnTo>
                  <a:pt x="121" y="267"/>
                </a:lnTo>
                <a:lnTo>
                  <a:pt x="129" y="250"/>
                </a:lnTo>
                <a:lnTo>
                  <a:pt x="137" y="254"/>
                </a:lnTo>
                <a:lnTo>
                  <a:pt x="144" y="260"/>
                </a:lnTo>
                <a:lnTo>
                  <a:pt x="150" y="263"/>
                </a:lnTo>
                <a:lnTo>
                  <a:pt x="154" y="263"/>
                </a:lnTo>
                <a:lnTo>
                  <a:pt x="165" y="263"/>
                </a:lnTo>
                <a:lnTo>
                  <a:pt x="173" y="256"/>
                </a:lnTo>
                <a:lnTo>
                  <a:pt x="181" y="242"/>
                </a:lnTo>
                <a:lnTo>
                  <a:pt x="219" y="202"/>
                </a:lnTo>
                <a:lnTo>
                  <a:pt x="259" y="167"/>
                </a:lnTo>
                <a:lnTo>
                  <a:pt x="238" y="167"/>
                </a:lnTo>
                <a:lnTo>
                  <a:pt x="231" y="177"/>
                </a:lnTo>
                <a:lnTo>
                  <a:pt x="219" y="185"/>
                </a:lnTo>
                <a:lnTo>
                  <a:pt x="200" y="198"/>
                </a:lnTo>
                <a:lnTo>
                  <a:pt x="173" y="206"/>
                </a:lnTo>
                <a:lnTo>
                  <a:pt x="150" y="213"/>
                </a:lnTo>
                <a:lnTo>
                  <a:pt x="137" y="221"/>
                </a:lnTo>
                <a:lnTo>
                  <a:pt x="125" y="227"/>
                </a:lnTo>
                <a:lnTo>
                  <a:pt x="110" y="246"/>
                </a:lnTo>
                <a:lnTo>
                  <a:pt x="91" y="263"/>
                </a:lnTo>
                <a:lnTo>
                  <a:pt x="75" y="267"/>
                </a:lnTo>
                <a:lnTo>
                  <a:pt x="64" y="267"/>
                </a:lnTo>
                <a:lnTo>
                  <a:pt x="64" y="254"/>
                </a:lnTo>
                <a:lnTo>
                  <a:pt x="71" y="238"/>
                </a:lnTo>
                <a:lnTo>
                  <a:pt x="83" y="206"/>
                </a:lnTo>
                <a:lnTo>
                  <a:pt x="98" y="181"/>
                </a:lnTo>
                <a:lnTo>
                  <a:pt x="114" y="152"/>
                </a:lnTo>
                <a:lnTo>
                  <a:pt x="114" y="156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21" name="Freeform 463"/>
          <p:cNvSpPr>
            <a:spLocks/>
          </p:cNvSpPr>
          <p:nvPr/>
        </p:nvSpPr>
        <p:spPr bwMode="gray">
          <a:xfrm>
            <a:off x="7227597" y="4230896"/>
            <a:ext cx="83295" cy="108162"/>
          </a:xfrm>
          <a:custGeom>
            <a:avLst/>
            <a:gdLst>
              <a:gd name="T0" fmla="*/ 24 w 217"/>
              <a:gd name="T1" fmla="*/ 67 h 278"/>
              <a:gd name="T2" fmla="*/ 19 w 217"/>
              <a:gd name="T3" fmla="*/ 70 h 278"/>
              <a:gd name="T4" fmla="*/ 11 w 217"/>
              <a:gd name="T5" fmla="*/ 68 h 278"/>
              <a:gd name="T6" fmla="*/ 5 w 217"/>
              <a:gd name="T7" fmla="*/ 62 h 278"/>
              <a:gd name="T8" fmla="*/ 1 w 217"/>
              <a:gd name="T9" fmla="*/ 55 h 278"/>
              <a:gd name="T10" fmla="*/ 0 w 217"/>
              <a:gd name="T11" fmla="*/ 47 h 278"/>
              <a:gd name="T12" fmla="*/ 1 w 217"/>
              <a:gd name="T13" fmla="*/ 40 h 278"/>
              <a:gd name="T14" fmla="*/ 8 w 217"/>
              <a:gd name="T15" fmla="*/ 0 h 278"/>
              <a:gd name="T16" fmla="*/ 14 w 217"/>
              <a:gd name="T17" fmla="*/ 4 h 278"/>
              <a:gd name="T18" fmla="*/ 19 w 217"/>
              <a:gd name="T19" fmla="*/ 15 h 278"/>
              <a:gd name="T20" fmla="*/ 22 w 217"/>
              <a:gd name="T21" fmla="*/ 32 h 278"/>
              <a:gd name="T22" fmla="*/ 25 w 217"/>
              <a:gd name="T23" fmla="*/ 30 h 278"/>
              <a:gd name="T24" fmla="*/ 27 w 217"/>
              <a:gd name="T25" fmla="*/ 28 h 278"/>
              <a:gd name="T26" fmla="*/ 33 w 217"/>
              <a:gd name="T27" fmla="*/ 31 h 278"/>
              <a:gd name="T28" fmla="*/ 31 w 217"/>
              <a:gd name="T29" fmla="*/ 34 h 278"/>
              <a:gd name="T30" fmla="*/ 35 w 217"/>
              <a:gd name="T31" fmla="*/ 28 h 278"/>
              <a:gd name="T32" fmla="*/ 37 w 217"/>
              <a:gd name="T33" fmla="*/ 25 h 278"/>
              <a:gd name="T34" fmla="*/ 43 w 217"/>
              <a:gd name="T35" fmla="*/ 24 h 278"/>
              <a:gd name="T36" fmla="*/ 49 w 217"/>
              <a:gd name="T37" fmla="*/ 25 h 278"/>
              <a:gd name="T38" fmla="*/ 52 w 217"/>
              <a:gd name="T39" fmla="*/ 31 h 278"/>
              <a:gd name="T40" fmla="*/ 48 w 217"/>
              <a:gd name="T41" fmla="*/ 36 h 278"/>
              <a:gd name="T42" fmla="*/ 47 w 217"/>
              <a:gd name="T43" fmla="*/ 41 h 278"/>
              <a:gd name="T44" fmla="*/ 47 w 217"/>
              <a:gd name="T45" fmla="*/ 48 h 278"/>
              <a:gd name="T46" fmla="*/ 38 w 217"/>
              <a:gd name="T47" fmla="*/ 59 h 278"/>
              <a:gd name="T48" fmla="*/ 35 w 217"/>
              <a:gd name="T49" fmla="*/ 61 h 278"/>
              <a:gd name="T50" fmla="*/ 32 w 217"/>
              <a:gd name="T51" fmla="*/ 59 h 278"/>
              <a:gd name="T52" fmla="*/ 33 w 217"/>
              <a:gd name="T53" fmla="*/ 49 h 278"/>
              <a:gd name="T54" fmla="*/ 35 w 217"/>
              <a:gd name="T55" fmla="*/ 43 h 278"/>
              <a:gd name="T56" fmla="*/ 34 w 217"/>
              <a:gd name="T57" fmla="*/ 37 h 278"/>
              <a:gd name="T58" fmla="*/ 32 w 217"/>
              <a:gd name="T59" fmla="*/ 39 h 278"/>
              <a:gd name="T60" fmla="*/ 29 w 217"/>
              <a:gd name="T61" fmla="*/ 46 h 278"/>
              <a:gd name="T62" fmla="*/ 26 w 217"/>
              <a:gd name="T63" fmla="*/ 47 h 278"/>
              <a:gd name="T64" fmla="*/ 23 w 217"/>
              <a:gd name="T65" fmla="*/ 44 h 278"/>
              <a:gd name="T66" fmla="*/ 25 w 217"/>
              <a:gd name="T67" fmla="*/ 40 h 278"/>
              <a:gd name="T68" fmla="*/ 27 w 217"/>
              <a:gd name="T69" fmla="*/ 36 h 278"/>
              <a:gd name="T70" fmla="*/ 22 w 217"/>
              <a:gd name="T71" fmla="*/ 38 h 278"/>
              <a:gd name="T72" fmla="*/ 20 w 217"/>
              <a:gd name="T73" fmla="*/ 44 h 278"/>
              <a:gd name="T74" fmla="*/ 21 w 217"/>
              <a:gd name="T75" fmla="*/ 47 h 278"/>
              <a:gd name="T76" fmla="*/ 22 w 217"/>
              <a:gd name="T77" fmla="*/ 54 h 278"/>
              <a:gd name="T78" fmla="*/ 20 w 217"/>
              <a:gd name="T79" fmla="*/ 56 h 278"/>
              <a:gd name="T80" fmla="*/ 19 w 217"/>
              <a:gd name="T81" fmla="*/ 60 h 278"/>
              <a:gd name="T82" fmla="*/ 20 w 217"/>
              <a:gd name="T83" fmla="*/ 61 h 278"/>
              <a:gd name="T84" fmla="*/ 25 w 217"/>
              <a:gd name="T85" fmla="*/ 58 h 278"/>
              <a:gd name="T86" fmla="*/ 29 w 217"/>
              <a:gd name="T87" fmla="*/ 56 h 278"/>
              <a:gd name="T88" fmla="*/ 30 w 217"/>
              <a:gd name="T89" fmla="*/ 60 h 27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217"/>
              <a:gd name="T136" fmla="*/ 0 h 278"/>
              <a:gd name="T137" fmla="*/ 217 w 217"/>
              <a:gd name="T138" fmla="*/ 278 h 27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217" h="278">
                <a:moveTo>
                  <a:pt x="117" y="249"/>
                </a:moveTo>
                <a:lnTo>
                  <a:pt x="98" y="267"/>
                </a:lnTo>
                <a:lnTo>
                  <a:pt x="86" y="274"/>
                </a:lnTo>
                <a:lnTo>
                  <a:pt x="77" y="278"/>
                </a:lnTo>
                <a:lnTo>
                  <a:pt x="61" y="274"/>
                </a:lnTo>
                <a:lnTo>
                  <a:pt x="46" y="270"/>
                </a:lnTo>
                <a:lnTo>
                  <a:pt x="34" y="263"/>
                </a:lnTo>
                <a:lnTo>
                  <a:pt x="23" y="251"/>
                </a:lnTo>
                <a:lnTo>
                  <a:pt x="15" y="238"/>
                </a:lnTo>
                <a:lnTo>
                  <a:pt x="7" y="222"/>
                </a:lnTo>
                <a:lnTo>
                  <a:pt x="4" y="209"/>
                </a:lnTo>
                <a:lnTo>
                  <a:pt x="0" y="190"/>
                </a:lnTo>
                <a:lnTo>
                  <a:pt x="4" y="176"/>
                </a:lnTo>
                <a:lnTo>
                  <a:pt x="7" y="161"/>
                </a:lnTo>
                <a:lnTo>
                  <a:pt x="7" y="17"/>
                </a:lnTo>
                <a:lnTo>
                  <a:pt x="34" y="0"/>
                </a:lnTo>
                <a:lnTo>
                  <a:pt x="50" y="13"/>
                </a:lnTo>
                <a:lnTo>
                  <a:pt x="57" y="17"/>
                </a:lnTo>
                <a:lnTo>
                  <a:pt x="65" y="21"/>
                </a:lnTo>
                <a:lnTo>
                  <a:pt x="77" y="61"/>
                </a:lnTo>
                <a:lnTo>
                  <a:pt x="90" y="98"/>
                </a:lnTo>
                <a:lnTo>
                  <a:pt x="90" y="128"/>
                </a:lnTo>
                <a:lnTo>
                  <a:pt x="98" y="126"/>
                </a:lnTo>
                <a:lnTo>
                  <a:pt x="102" y="123"/>
                </a:lnTo>
                <a:lnTo>
                  <a:pt x="102" y="115"/>
                </a:lnTo>
                <a:lnTo>
                  <a:pt x="109" y="115"/>
                </a:lnTo>
                <a:lnTo>
                  <a:pt x="125" y="119"/>
                </a:lnTo>
                <a:lnTo>
                  <a:pt x="132" y="126"/>
                </a:lnTo>
                <a:lnTo>
                  <a:pt x="125" y="126"/>
                </a:lnTo>
                <a:lnTo>
                  <a:pt x="125" y="136"/>
                </a:lnTo>
                <a:lnTo>
                  <a:pt x="140" y="136"/>
                </a:lnTo>
                <a:lnTo>
                  <a:pt x="140" y="115"/>
                </a:lnTo>
                <a:lnTo>
                  <a:pt x="144" y="107"/>
                </a:lnTo>
                <a:lnTo>
                  <a:pt x="151" y="100"/>
                </a:lnTo>
                <a:lnTo>
                  <a:pt x="163" y="98"/>
                </a:lnTo>
                <a:lnTo>
                  <a:pt x="174" y="98"/>
                </a:lnTo>
                <a:lnTo>
                  <a:pt x="186" y="98"/>
                </a:lnTo>
                <a:lnTo>
                  <a:pt x="197" y="103"/>
                </a:lnTo>
                <a:lnTo>
                  <a:pt x="217" y="111"/>
                </a:lnTo>
                <a:lnTo>
                  <a:pt x="209" y="126"/>
                </a:lnTo>
                <a:lnTo>
                  <a:pt x="201" y="136"/>
                </a:lnTo>
                <a:lnTo>
                  <a:pt x="194" y="147"/>
                </a:lnTo>
                <a:lnTo>
                  <a:pt x="190" y="159"/>
                </a:lnTo>
                <a:lnTo>
                  <a:pt x="190" y="165"/>
                </a:lnTo>
                <a:lnTo>
                  <a:pt x="194" y="172"/>
                </a:lnTo>
                <a:lnTo>
                  <a:pt x="190" y="194"/>
                </a:lnTo>
                <a:lnTo>
                  <a:pt x="174" y="217"/>
                </a:lnTo>
                <a:lnTo>
                  <a:pt x="155" y="238"/>
                </a:lnTo>
                <a:lnTo>
                  <a:pt x="148" y="245"/>
                </a:lnTo>
                <a:lnTo>
                  <a:pt x="140" y="245"/>
                </a:lnTo>
                <a:lnTo>
                  <a:pt x="128" y="242"/>
                </a:lnTo>
                <a:lnTo>
                  <a:pt x="128" y="238"/>
                </a:lnTo>
                <a:lnTo>
                  <a:pt x="128" y="217"/>
                </a:lnTo>
                <a:lnTo>
                  <a:pt x="132" y="197"/>
                </a:lnTo>
                <a:lnTo>
                  <a:pt x="136" y="188"/>
                </a:lnTo>
                <a:lnTo>
                  <a:pt x="140" y="172"/>
                </a:lnTo>
                <a:lnTo>
                  <a:pt x="140" y="159"/>
                </a:lnTo>
                <a:lnTo>
                  <a:pt x="136" y="151"/>
                </a:lnTo>
                <a:lnTo>
                  <a:pt x="132" y="155"/>
                </a:lnTo>
                <a:lnTo>
                  <a:pt x="128" y="159"/>
                </a:lnTo>
                <a:lnTo>
                  <a:pt x="121" y="172"/>
                </a:lnTo>
                <a:lnTo>
                  <a:pt x="117" y="184"/>
                </a:lnTo>
                <a:lnTo>
                  <a:pt x="113" y="188"/>
                </a:lnTo>
                <a:lnTo>
                  <a:pt x="105" y="188"/>
                </a:lnTo>
                <a:lnTo>
                  <a:pt x="98" y="184"/>
                </a:lnTo>
                <a:lnTo>
                  <a:pt x="94" y="176"/>
                </a:lnTo>
                <a:lnTo>
                  <a:pt x="98" y="169"/>
                </a:lnTo>
                <a:lnTo>
                  <a:pt x="102" y="161"/>
                </a:lnTo>
                <a:lnTo>
                  <a:pt x="109" y="151"/>
                </a:lnTo>
                <a:lnTo>
                  <a:pt x="109" y="144"/>
                </a:lnTo>
                <a:lnTo>
                  <a:pt x="98" y="147"/>
                </a:lnTo>
                <a:lnTo>
                  <a:pt x="90" y="155"/>
                </a:lnTo>
                <a:lnTo>
                  <a:pt x="82" y="165"/>
                </a:lnTo>
                <a:lnTo>
                  <a:pt x="82" y="176"/>
                </a:lnTo>
                <a:lnTo>
                  <a:pt x="82" y="184"/>
                </a:lnTo>
                <a:lnTo>
                  <a:pt x="86" y="188"/>
                </a:lnTo>
                <a:lnTo>
                  <a:pt x="90" y="190"/>
                </a:lnTo>
                <a:lnTo>
                  <a:pt x="90" y="217"/>
                </a:lnTo>
                <a:lnTo>
                  <a:pt x="90" y="222"/>
                </a:lnTo>
                <a:lnTo>
                  <a:pt x="82" y="226"/>
                </a:lnTo>
                <a:lnTo>
                  <a:pt x="78" y="234"/>
                </a:lnTo>
                <a:lnTo>
                  <a:pt x="78" y="242"/>
                </a:lnTo>
                <a:lnTo>
                  <a:pt x="78" y="245"/>
                </a:lnTo>
                <a:lnTo>
                  <a:pt x="82" y="245"/>
                </a:lnTo>
                <a:lnTo>
                  <a:pt x="94" y="242"/>
                </a:lnTo>
                <a:lnTo>
                  <a:pt x="102" y="234"/>
                </a:lnTo>
                <a:lnTo>
                  <a:pt x="113" y="219"/>
                </a:lnTo>
                <a:lnTo>
                  <a:pt x="117" y="226"/>
                </a:lnTo>
                <a:lnTo>
                  <a:pt x="121" y="234"/>
                </a:lnTo>
                <a:lnTo>
                  <a:pt x="121" y="242"/>
                </a:lnTo>
                <a:lnTo>
                  <a:pt x="117" y="249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22" name="Freeform 465"/>
          <p:cNvSpPr>
            <a:spLocks/>
          </p:cNvSpPr>
          <p:nvPr/>
        </p:nvSpPr>
        <p:spPr bwMode="gray">
          <a:xfrm>
            <a:off x="7207545" y="3832488"/>
            <a:ext cx="357857" cy="334600"/>
          </a:xfrm>
          <a:custGeom>
            <a:avLst/>
            <a:gdLst>
              <a:gd name="T0" fmla="*/ 16 w 929"/>
              <a:gd name="T1" fmla="*/ 10 h 860"/>
              <a:gd name="T2" fmla="*/ 26 w 929"/>
              <a:gd name="T3" fmla="*/ 1 h 860"/>
              <a:gd name="T4" fmla="*/ 29 w 929"/>
              <a:gd name="T5" fmla="*/ 14 h 860"/>
              <a:gd name="T6" fmla="*/ 38 w 929"/>
              <a:gd name="T7" fmla="*/ 66 h 860"/>
              <a:gd name="T8" fmla="*/ 50 w 929"/>
              <a:gd name="T9" fmla="*/ 90 h 860"/>
              <a:gd name="T10" fmla="*/ 50 w 929"/>
              <a:gd name="T11" fmla="*/ 72 h 860"/>
              <a:gd name="T12" fmla="*/ 54 w 929"/>
              <a:gd name="T13" fmla="*/ 68 h 860"/>
              <a:gd name="T14" fmla="*/ 70 w 929"/>
              <a:gd name="T15" fmla="*/ 59 h 860"/>
              <a:gd name="T16" fmla="*/ 73 w 929"/>
              <a:gd name="T17" fmla="*/ 68 h 860"/>
              <a:gd name="T18" fmla="*/ 81 w 929"/>
              <a:gd name="T19" fmla="*/ 80 h 860"/>
              <a:gd name="T20" fmla="*/ 104 w 929"/>
              <a:gd name="T21" fmla="*/ 72 h 860"/>
              <a:gd name="T22" fmla="*/ 117 w 929"/>
              <a:gd name="T23" fmla="*/ 57 h 860"/>
              <a:gd name="T24" fmla="*/ 142 w 929"/>
              <a:gd name="T25" fmla="*/ 48 h 860"/>
              <a:gd name="T26" fmla="*/ 144 w 929"/>
              <a:gd name="T27" fmla="*/ 60 h 860"/>
              <a:gd name="T28" fmla="*/ 148 w 929"/>
              <a:gd name="T29" fmla="*/ 72 h 860"/>
              <a:gd name="T30" fmla="*/ 160 w 929"/>
              <a:gd name="T31" fmla="*/ 79 h 860"/>
              <a:gd name="T32" fmla="*/ 164 w 929"/>
              <a:gd name="T33" fmla="*/ 73 h 860"/>
              <a:gd name="T34" fmla="*/ 171 w 929"/>
              <a:gd name="T35" fmla="*/ 62 h 860"/>
              <a:gd name="T36" fmla="*/ 176 w 929"/>
              <a:gd name="T37" fmla="*/ 72 h 860"/>
              <a:gd name="T38" fmla="*/ 171 w 929"/>
              <a:gd name="T39" fmla="*/ 96 h 860"/>
              <a:gd name="T40" fmla="*/ 179 w 929"/>
              <a:gd name="T41" fmla="*/ 108 h 860"/>
              <a:gd name="T42" fmla="*/ 187 w 929"/>
              <a:gd name="T43" fmla="*/ 97 h 860"/>
              <a:gd name="T44" fmla="*/ 193 w 929"/>
              <a:gd name="T45" fmla="*/ 76 h 860"/>
              <a:gd name="T46" fmla="*/ 198 w 929"/>
              <a:gd name="T47" fmla="*/ 101 h 860"/>
              <a:gd name="T48" fmla="*/ 207 w 929"/>
              <a:gd name="T49" fmla="*/ 104 h 860"/>
              <a:gd name="T50" fmla="*/ 205 w 929"/>
              <a:gd name="T51" fmla="*/ 92 h 860"/>
              <a:gd name="T52" fmla="*/ 213 w 929"/>
              <a:gd name="T53" fmla="*/ 91 h 860"/>
              <a:gd name="T54" fmla="*/ 221 w 929"/>
              <a:gd name="T55" fmla="*/ 108 h 860"/>
              <a:gd name="T56" fmla="*/ 232 w 929"/>
              <a:gd name="T57" fmla="*/ 135 h 860"/>
              <a:gd name="T58" fmla="*/ 214 w 929"/>
              <a:gd name="T59" fmla="*/ 147 h 860"/>
              <a:gd name="T60" fmla="*/ 203 w 929"/>
              <a:gd name="T61" fmla="*/ 143 h 860"/>
              <a:gd name="T62" fmla="*/ 195 w 929"/>
              <a:gd name="T63" fmla="*/ 149 h 860"/>
              <a:gd name="T64" fmla="*/ 190 w 929"/>
              <a:gd name="T65" fmla="*/ 126 h 860"/>
              <a:gd name="T66" fmla="*/ 172 w 929"/>
              <a:gd name="T67" fmla="*/ 113 h 860"/>
              <a:gd name="T68" fmla="*/ 169 w 929"/>
              <a:gd name="T69" fmla="*/ 126 h 860"/>
              <a:gd name="T70" fmla="*/ 171 w 929"/>
              <a:gd name="T71" fmla="*/ 141 h 860"/>
              <a:gd name="T72" fmla="*/ 164 w 929"/>
              <a:gd name="T73" fmla="*/ 153 h 860"/>
              <a:gd name="T74" fmla="*/ 165 w 929"/>
              <a:gd name="T75" fmla="*/ 170 h 860"/>
              <a:gd name="T76" fmla="*/ 145 w 929"/>
              <a:gd name="T77" fmla="*/ 174 h 860"/>
              <a:gd name="T78" fmla="*/ 153 w 929"/>
              <a:gd name="T79" fmla="*/ 152 h 860"/>
              <a:gd name="T80" fmla="*/ 154 w 929"/>
              <a:gd name="T81" fmla="*/ 137 h 860"/>
              <a:gd name="T82" fmla="*/ 143 w 929"/>
              <a:gd name="T83" fmla="*/ 146 h 860"/>
              <a:gd name="T84" fmla="*/ 142 w 929"/>
              <a:gd name="T85" fmla="*/ 156 h 860"/>
              <a:gd name="T86" fmla="*/ 129 w 929"/>
              <a:gd name="T87" fmla="*/ 157 h 860"/>
              <a:gd name="T88" fmla="*/ 112 w 929"/>
              <a:gd name="T89" fmla="*/ 168 h 860"/>
              <a:gd name="T90" fmla="*/ 95 w 929"/>
              <a:gd name="T91" fmla="*/ 179 h 860"/>
              <a:gd name="T92" fmla="*/ 55 w 929"/>
              <a:gd name="T93" fmla="*/ 204 h 860"/>
              <a:gd name="T94" fmla="*/ 39 w 929"/>
              <a:gd name="T95" fmla="*/ 215 h 860"/>
              <a:gd name="T96" fmla="*/ 32 w 929"/>
              <a:gd name="T97" fmla="*/ 193 h 860"/>
              <a:gd name="T98" fmla="*/ 29 w 929"/>
              <a:gd name="T99" fmla="*/ 167 h 860"/>
              <a:gd name="T100" fmla="*/ 23 w 929"/>
              <a:gd name="T101" fmla="*/ 141 h 860"/>
              <a:gd name="T102" fmla="*/ 25 w 929"/>
              <a:gd name="T103" fmla="*/ 133 h 860"/>
              <a:gd name="T104" fmla="*/ 12 w 929"/>
              <a:gd name="T105" fmla="*/ 82 h 860"/>
              <a:gd name="T106" fmla="*/ 0 w 929"/>
              <a:gd name="T107" fmla="*/ 28 h 86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929"/>
              <a:gd name="T163" fmla="*/ 0 h 860"/>
              <a:gd name="T164" fmla="*/ 929 w 929"/>
              <a:gd name="T165" fmla="*/ 860 h 860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929" h="860">
                <a:moveTo>
                  <a:pt x="15" y="61"/>
                </a:moveTo>
                <a:lnTo>
                  <a:pt x="38" y="27"/>
                </a:lnTo>
                <a:lnTo>
                  <a:pt x="59" y="27"/>
                </a:lnTo>
                <a:lnTo>
                  <a:pt x="63" y="36"/>
                </a:lnTo>
                <a:lnTo>
                  <a:pt x="67" y="40"/>
                </a:lnTo>
                <a:lnTo>
                  <a:pt x="75" y="36"/>
                </a:lnTo>
                <a:lnTo>
                  <a:pt x="79" y="32"/>
                </a:lnTo>
                <a:lnTo>
                  <a:pt x="90" y="23"/>
                </a:lnTo>
                <a:lnTo>
                  <a:pt x="98" y="7"/>
                </a:lnTo>
                <a:lnTo>
                  <a:pt x="106" y="3"/>
                </a:lnTo>
                <a:lnTo>
                  <a:pt x="113" y="0"/>
                </a:lnTo>
                <a:lnTo>
                  <a:pt x="121" y="19"/>
                </a:lnTo>
                <a:lnTo>
                  <a:pt x="125" y="40"/>
                </a:lnTo>
                <a:lnTo>
                  <a:pt x="121" y="51"/>
                </a:lnTo>
                <a:lnTo>
                  <a:pt x="117" y="57"/>
                </a:lnTo>
                <a:lnTo>
                  <a:pt x="109" y="69"/>
                </a:lnTo>
                <a:lnTo>
                  <a:pt x="125" y="101"/>
                </a:lnTo>
                <a:lnTo>
                  <a:pt x="132" y="138"/>
                </a:lnTo>
                <a:lnTo>
                  <a:pt x="148" y="220"/>
                </a:lnTo>
                <a:lnTo>
                  <a:pt x="155" y="263"/>
                </a:lnTo>
                <a:lnTo>
                  <a:pt x="163" y="303"/>
                </a:lnTo>
                <a:lnTo>
                  <a:pt x="177" y="339"/>
                </a:lnTo>
                <a:lnTo>
                  <a:pt x="184" y="353"/>
                </a:lnTo>
                <a:lnTo>
                  <a:pt x="192" y="368"/>
                </a:lnTo>
                <a:lnTo>
                  <a:pt x="200" y="357"/>
                </a:lnTo>
                <a:lnTo>
                  <a:pt x="207" y="343"/>
                </a:lnTo>
                <a:lnTo>
                  <a:pt x="211" y="314"/>
                </a:lnTo>
                <a:lnTo>
                  <a:pt x="207" y="303"/>
                </a:lnTo>
                <a:lnTo>
                  <a:pt x="203" y="291"/>
                </a:lnTo>
                <a:lnTo>
                  <a:pt x="200" y="286"/>
                </a:lnTo>
                <a:lnTo>
                  <a:pt x="196" y="274"/>
                </a:lnTo>
                <a:lnTo>
                  <a:pt x="200" y="266"/>
                </a:lnTo>
                <a:lnTo>
                  <a:pt x="203" y="259"/>
                </a:lnTo>
                <a:lnTo>
                  <a:pt x="215" y="266"/>
                </a:lnTo>
                <a:lnTo>
                  <a:pt x="219" y="270"/>
                </a:lnTo>
                <a:lnTo>
                  <a:pt x="226" y="270"/>
                </a:lnTo>
                <a:lnTo>
                  <a:pt x="238" y="270"/>
                </a:lnTo>
                <a:lnTo>
                  <a:pt x="249" y="266"/>
                </a:lnTo>
                <a:lnTo>
                  <a:pt x="265" y="253"/>
                </a:lnTo>
                <a:lnTo>
                  <a:pt x="280" y="238"/>
                </a:lnTo>
                <a:lnTo>
                  <a:pt x="292" y="234"/>
                </a:lnTo>
                <a:lnTo>
                  <a:pt x="299" y="230"/>
                </a:lnTo>
                <a:lnTo>
                  <a:pt x="301" y="241"/>
                </a:lnTo>
                <a:lnTo>
                  <a:pt x="299" y="257"/>
                </a:lnTo>
                <a:lnTo>
                  <a:pt x="292" y="270"/>
                </a:lnTo>
                <a:lnTo>
                  <a:pt x="276" y="295"/>
                </a:lnTo>
                <a:lnTo>
                  <a:pt x="276" y="314"/>
                </a:lnTo>
                <a:lnTo>
                  <a:pt x="305" y="314"/>
                </a:lnTo>
                <a:lnTo>
                  <a:pt x="317" y="316"/>
                </a:lnTo>
                <a:lnTo>
                  <a:pt x="324" y="320"/>
                </a:lnTo>
                <a:lnTo>
                  <a:pt x="347" y="320"/>
                </a:lnTo>
                <a:lnTo>
                  <a:pt x="370" y="316"/>
                </a:lnTo>
                <a:lnTo>
                  <a:pt x="386" y="311"/>
                </a:lnTo>
                <a:lnTo>
                  <a:pt x="401" y="299"/>
                </a:lnTo>
                <a:lnTo>
                  <a:pt x="416" y="288"/>
                </a:lnTo>
                <a:lnTo>
                  <a:pt x="422" y="274"/>
                </a:lnTo>
                <a:lnTo>
                  <a:pt x="430" y="257"/>
                </a:lnTo>
                <a:lnTo>
                  <a:pt x="430" y="234"/>
                </a:lnTo>
                <a:lnTo>
                  <a:pt x="449" y="234"/>
                </a:lnTo>
                <a:lnTo>
                  <a:pt x="468" y="228"/>
                </a:lnTo>
                <a:lnTo>
                  <a:pt x="495" y="213"/>
                </a:lnTo>
                <a:lnTo>
                  <a:pt x="526" y="199"/>
                </a:lnTo>
                <a:lnTo>
                  <a:pt x="541" y="192"/>
                </a:lnTo>
                <a:lnTo>
                  <a:pt x="559" y="192"/>
                </a:lnTo>
                <a:lnTo>
                  <a:pt x="570" y="192"/>
                </a:lnTo>
                <a:lnTo>
                  <a:pt x="574" y="195"/>
                </a:lnTo>
                <a:lnTo>
                  <a:pt x="582" y="205"/>
                </a:lnTo>
                <a:lnTo>
                  <a:pt x="582" y="217"/>
                </a:lnTo>
                <a:lnTo>
                  <a:pt x="578" y="228"/>
                </a:lnTo>
                <a:lnTo>
                  <a:pt x="578" y="241"/>
                </a:lnTo>
                <a:lnTo>
                  <a:pt x="574" y="253"/>
                </a:lnTo>
                <a:lnTo>
                  <a:pt x="574" y="259"/>
                </a:lnTo>
                <a:lnTo>
                  <a:pt x="578" y="266"/>
                </a:lnTo>
                <a:lnTo>
                  <a:pt x="582" y="278"/>
                </a:lnTo>
                <a:lnTo>
                  <a:pt x="593" y="288"/>
                </a:lnTo>
                <a:lnTo>
                  <a:pt x="608" y="295"/>
                </a:lnTo>
                <a:lnTo>
                  <a:pt x="628" y="299"/>
                </a:lnTo>
                <a:lnTo>
                  <a:pt x="631" y="311"/>
                </a:lnTo>
                <a:lnTo>
                  <a:pt x="635" y="314"/>
                </a:lnTo>
                <a:lnTo>
                  <a:pt x="643" y="316"/>
                </a:lnTo>
                <a:lnTo>
                  <a:pt x="647" y="316"/>
                </a:lnTo>
                <a:lnTo>
                  <a:pt x="654" y="316"/>
                </a:lnTo>
                <a:lnTo>
                  <a:pt x="662" y="314"/>
                </a:lnTo>
                <a:lnTo>
                  <a:pt x="668" y="303"/>
                </a:lnTo>
                <a:lnTo>
                  <a:pt x="658" y="291"/>
                </a:lnTo>
                <a:lnTo>
                  <a:pt x="654" y="282"/>
                </a:lnTo>
                <a:lnTo>
                  <a:pt x="664" y="274"/>
                </a:lnTo>
                <a:lnTo>
                  <a:pt x="676" y="263"/>
                </a:lnTo>
                <a:lnTo>
                  <a:pt x="683" y="253"/>
                </a:lnTo>
                <a:lnTo>
                  <a:pt x="687" y="249"/>
                </a:lnTo>
                <a:lnTo>
                  <a:pt x="695" y="249"/>
                </a:lnTo>
                <a:lnTo>
                  <a:pt x="702" y="249"/>
                </a:lnTo>
                <a:lnTo>
                  <a:pt x="706" y="257"/>
                </a:lnTo>
                <a:lnTo>
                  <a:pt x="706" y="270"/>
                </a:lnTo>
                <a:lnTo>
                  <a:pt x="706" y="288"/>
                </a:lnTo>
                <a:lnTo>
                  <a:pt x="699" y="299"/>
                </a:lnTo>
                <a:lnTo>
                  <a:pt x="695" y="307"/>
                </a:lnTo>
                <a:lnTo>
                  <a:pt x="691" y="320"/>
                </a:lnTo>
                <a:lnTo>
                  <a:pt x="691" y="357"/>
                </a:lnTo>
                <a:lnTo>
                  <a:pt x="687" y="382"/>
                </a:lnTo>
                <a:lnTo>
                  <a:pt x="699" y="385"/>
                </a:lnTo>
                <a:lnTo>
                  <a:pt x="706" y="385"/>
                </a:lnTo>
                <a:lnTo>
                  <a:pt x="706" y="401"/>
                </a:lnTo>
                <a:lnTo>
                  <a:pt x="710" y="414"/>
                </a:lnTo>
                <a:lnTo>
                  <a:pt x="718" y="430"/>
                </a:lnTo>
                <a:lnTo>
                  <a:pt x="718" y="443"/>
                </a:lnTo>
                <a:lnTo>
                  <a:pt x="764" y="443"/>
                </a:lnTo>
                <a:lnTo>
                  <a:pt x="760" y="422"/>
                </a:lnTo>
                <a:lnTo>
                  <a:pt x="756" y="403"/>
                </a:lnTo>
                <a:lnTo>
                  <a:pt x="749" y="385"/>
                </a:lnTo>
                <a:lnTo>
                  <a:pt x="749" y="368"/>
                </a:lnTo>
                <a:lnTo>
                  <a:pt x="749" y="349"/>
                </a:lnTo>
                <a:lnTo>
                  <a:pt x="756" y="332"/>
                </a:lnTo>
                <a:lnTo>
                  <a:pt x="768" y="314"/>
                </a:lnTo>
                <a:lnTo>
                  <a:pt x="775" y="303"/>
                </a:lnTo>
                <a:lnTo>
                  <a:pt x="783" y="316"/>
                </a:lnTo>
                <a:lnTo>
                  <a:pt x="783" y="332"/>
                </a:lnTo>
                <a:lnTo>
                  <a:pt x="783" y="357"/>
                </a:lnTo>
                <a:lnTo>
                  <a:pt x="789" y="385"/>
                </a:lnTo>
                <a:lnTo>
                  <a:pt x="793" y="401"/>
                </a:lnTo>
                <a:lnTo>
                  <a:pt x="800" y="414"/>
                </a:lnTo>
                <a:lnTo>
                  <a:pt x="808" y="422"/>
                </a:lnTo>
                <a:lnTo>
                  <a:pt x="820" y="426"/>
                </a:lnTo>
                <a:lnTo>
                  <a:pt x="827" y="422"/>
                </a:lnTo>
                <a:lnTo>
                  <a:pt x="831" y="414"/>
                </a:lnTo>
                <a:lnTo>
                  <a:pt x="835" y="401"/>
                </a:lnTo>
                <a:lnTo>
                  <a:pt x="831" y="393"/>
                </a:lnTo>
                <a:lnTo>
                  <a:pt x="827" y="385"/>
                </a:lnTo>
                <a:lnTo>
                  <a:pt x="823" y="374"/>
                </a:lnTo>
                <a:lnTo>
                  <a:pt x="823" y="368"/>
                </a:lnTo>
                <a:lnTo>
                  <a:pt x="823" y="360"/>
                </a:lnTo>
                <a:lnTo>
                  <a:pt x="827" y="357"/>
                </a:lnTo>
                <a:lnTo>
                  <a:pt x="839" y="353"/>
                </a:lnTo>
                <a:lnTo>
                  <a:pt x="846" y="360"/>
                </a:lnTo>
                <a:lnTo>
                  <a:pt x="854" y="364"/>
                </a:lnTo>
                <a:lnTo>
                  <a:pt x="866" y="372"/>
                </a:lnTo>
                <a:lnTo>
                  <a:pt x="873" y="374"/>
                </a:lnTo>
                <a:lnTo>
                  <a:pt x="881" y="385"/>
                </a:lnTo>
                <a:lnTo>
                  <a:pt x="881" y="401"/>
                </a:lnTo>
                <a:lnTo>
                  <a:pt x="885" y="430"/>
                </a:lnTo>
                <a:lnTo>
                  <a:pt x="896" y="455"/>
                </a:lnTo>
                <a:lnTo>
                  <a:pt x="910" y="483"/>
                </a:lnTo>
                <a:lnTo>
                  <a:pt x="925" y="508"/>
                </a:lnTo>
                <a:lnTo>
                  <a:pt x="929" y="522"/>
                </a:lnTo>
                <a:lnTo>
                  <a:pt x="929" y="537"/>
                </a:lnTo>
                <a:lnTo>
                  <a:pt x="921" y="547"/>
                </a:lnTo>
                <a:lnTo>
                  <a:pt x="908" y="566"/>
                </a:lnTo>
                <a:lnTo>
                  <a:pt x="889" y="579"/>
                </a:lnTo>
                <a:lnTo>
                  <a:pt x="877" y="587"/>
                </a:lnTo>
                <a:lnTo>
                  <a:pt x="858" y="587"/>
                </a:lnTo>
                <a:lnTo>
                  <a:pt x="858" y="562"/>
                </a:lnTo>
                <a:lnTo>
                  <a:pt x="846" y="543"/>
                </a:lnTo>
                <a:lnTo>
                  <a:pt x="835" y="533"/>
                </a:lnTo>
                <a:lnTo>
                  <a:pt x="816" y="522"/>
                </a:lnTo>
                <a:lnTo>
                  <a:pt x="812" y="570"/>
                </a:lnTo>
                <a:lnTo>
                  <a:pt x="804" y="591"/>
                </a:lnTo>
                <a:lnTo>
                  <a:pt x="800" y="599"/>
                </a:lnTo>
                <a:lnTo>
                  <a:pt x="797" y="600"/>
                </a:lnTo>
                <a:lnTo>
                  <a:pt x="789" y="600"/>
                </a:lnTo>
                <a:lnTo>
                  <a:pt x="783" y="595"/>
                </a:lnTo>
                <a:lnTo>
                  <a:pt x="779" y="587"/>
                </a:lnTo>
                <a:lnTo>
                  <a:pt x="775" y="575"/>
                </a:lnTo>
                <a:lnTo>
                  <a:pt x="772" y="537"/>
                </a:lnTo>
                <a:lnTo>
                  <a:pt x="768" y="518"/>
                </a:lnTo>
                <a:lnTo>
                  <a:pt x="760" y="504"/>
                </a:lnTo>
                <a:lnTo>
                  <a:pt x="749" y="493"/>
                </a:lnTo>
                <a:lnTo>
                  <a:pt x="737" y="479"/>
                </a:lnTo>
                <a:lnTo>
                  <a:pt x="726" y="468"/>
                </a:lnTo>
                <a:lnTo>
                  <a:pt x="710" y="460"/>
                </a:lnTo>
                <a:lnTo>
                  <a:pt x="691" y="455"/>
                </a:lnTo>
                <a:lnTo>
                  <a:pt x="676" y="451"/>
                </a:lnTo>
                <a:lnTo>
                  <a:pt x="672" y="460"/>
                </a:lnTo>
                <a:lnTo>
                  <a:pt x="672" y="468"/>
                </a:lnTo>
                <a:lnTo>
                  <a:pt x="676" y="483"/>
                </a:lnTo>
                <a:lnTo>
                  <a:pt x="679" y="504"/>
                </a:lnTo>
                <a:lnTo>
                  <a:pt x="683" y="518"/>
                </a:lnTo>
                <a:lnTo>
                  <a:pt x="691" y="533"/>
                </a:lnTo>
                <a:lnTo>
                  <a:pt x="691" y="551"/>
                </a:lnTo>
                <a:lnTo>
                  <a:pt x="691" y="554"/>
                </a:lnTo>
                <a:lnTo>
                  <a:pt x="687" y="562"/>
                </a:lnTo>
                <a:lnTo>
                  <a:pt x="676" y="570"/>
                </a:lnTo>
                <a:lnTo>
                  <a:pt x="662" y="579"/>
                </a:lnTo>
                <a:lnTo>
                  <a:pt x="658" y="587"/>
                </a:lnTo>
                <a:lnTo>
                  <a:pt x="658" y="599"/>
                </a:lnTo>
                <a:lnTo>
                  <a:pt x="658" y="612"/>
                </a:lnTo>
                <a:lnTo>
                  <a:pt x="662" y="627"/>
                </a:lnTo>
                <a:lnTo>
                  <a:pt x="664" y="641"/>
                </a:lnTo>
                <a:lnTo>
                  <a:pt x="668" y="656"/>
                </a:lnTo>
                <a:lnTo>
                  <a:pt x="664" y="666"/>
                </a:lnTo>
                <a:lnTo>
                  <a:pt x="662" y="677"/>
                </a:lnTo>
                <a:lnTo>
                  <a:pt x="643" y="694"/>
                </a:lnTo>
                <a:lnTo>
                  <a:pt x="620" y="714"/>
                </a:lnTo>
                <a:lnTo>
                  <a:pt x="605" y="723"/>
                </a:lnTo>
                <a:lnTo>
                  <a:pt x="582" y="723"/>
                </a:lnTo>
                <a:lnTo>
                  <a:pt x="582" y="694"/>
                </a:lnTo>
                <a:lnTo>
                  <a:pt x="605" y="662"/>
                </a:lnTo>
                <a:lnTo>
                  <a:pt x="624" y="629"/>
                </a:lnTo>
                <a:lnTo>
                  <a:pt x="620" y="623"/>
                </a:lnTo>
                <a:lnTo>
                  <a:pt x="616" y="616"/>
                </a:lnTo>
                <a:lnTo>
                  <a:pt x="612" y="608"/>
                </a:lnTo>
                <a:lnTo>
                  <a:pt x="612" y="600"/>
                </a:lnTo>
                <a:lnTo>
                  <a:pt x="616" y="587"/>
                </a:lnTo>
                <a:lnTo>
                  <a:pt x="624" y="572"/>
                </a:lnTo>
                <a:lnTo>
                  <a:pt x="639" y="547"/>
                </a:lnTo>
                <a:lnTo>
                  <a:pt x="616" y="547"/>
                </a:lnTo>
                <a:lnTo>
                  <a:pt x="589" y="558"/>
                </a:lnTo>
                <a:lnTo>
                  <a:pt x="578" y="566"/>
                </a:lnTo>
                <a:lnTo>
                  <a:pt x="570" y="572"/>
                </a:lnTo>
                <a:lnTo>
                  <a:pt x="570" y="575"/>
                </a:lnTo>
                <a:lnTo>
                  <a:pt x="574" y="583"/>
                </a:lnTo>
                <a:lnTo>
                  <a:pt x="578" y="587"/>
                </a:lnTo>
                <a:lnTo>
                  <a:pt x="582" y="595"/>
                </a:lnTo>
                <a:lnTo>
                  <a:pt x="582" y="600"/>
                </a:lnTo>
                <a:lnTo>
                  <a:pt x="578" y="616"/>
                </a:lnTo>
                <a:lnTo>
                  <a:pt x="570" y="623"/>
                </a:lnTo>
                <a:lnTo>
                  <a:pt x="555" y="629"/>
                </a:lnTo>
                <a:lnTo>
                  <a:pt x="541" y="633"/>
                </a:lnTo>
                <a:lnTo>
                  <a:pt x="534" y="629"/>
                </a:lnTo>
                <a:lnTo>
                  <a:pt x="526" y="629"/>
                </a:lnTo>
                <a:lnTo>
                  <a:pt x="518" y="627"/>
                </a:lnTo>
                <a:lnTo>
                  <a:pt x="511" y="623"/>
                </a:lnTo>
                <a:lnTo>
                  <a:pt x="495" y="627"/>
                </a:lnTo>
                <a:lnTo>
                  <a:pt x="484" y="629"/>
                </a:lnTo>
                <a:lnTo>
                  <a:pt x="464" y="648"/>
                </a:lnTo>
                <a:lnTo>
                  <a:pt x="449" y="670"/>
                </a:lnTo>
                <a:lnTo>
                  <a:pt x="434" y="685"/>
                </a:lnTo>
                <a:lnTo>
                  <a:pt x="422" y="694"/>
                </a:lnTo>
                <a:lnTo>
                  <a:pt x="409" y="702"/>
                </a:lnTo>
                <a:lnTo>
                  <a:pt x="393" y="710"/>
                </a:lnTo>
                <a:lnTo>
                  <a:pt x="382" y="716"/>
                </a:lnTo>
                <a:lnTo>
                  <a:pt x="344" y="742"/>
                </a:lnTo>
                <a:lnTo>
                  <a:pt x="309" y="764"/>
                </a:lnTo>
                <a:lnTo>
                  <a:pt x="238" y="800"/>
                </a:lnTo>
                <a:lnTo>
                  <a:pt x="230" y="802"/>
                </a:lnTo>
                <a:lnTo>
                  <a:pt x="223" y="813"/>
                </a:lnTo>
                <a:lnTo>
                  <a:pt x="211" y="831"/>
                </a:lnTo>
                <a:lnTo>
                  <a:pt x="192" y="850"/>
                </a:lnTo>
                <a:lnTo>
                  <a:pt x="184" y="858"/>
                </a:lnTo>
                <a:lnTo>
                  <a:pt x="175" y="860"/>
                </a:lnTo>
                <a:lnTo>
                  <a:pt x="159" y="858"/>
                </a:lnTo>
                <a:lnTo>
                  <a:pt x="140" y="846"/>
                </a:lnTo>
                <a:lnTo>
                  <a:pt x="129" y="831"/>
                </a:lnTo>
                <a:lnTo>
                  <a:pt x="125" y="821"/>
                </a:lnTo>
                <a:lnTo>
                  <a:pt x="125" y="813"/>
                </a:lnTo>
                <a:lnTo>
                  <a:pt x="129" y="771"/>
                </a:lnTo>
                <a:lnTo>
                  <a:pt x="140" y="714"/>
                </a:lnTo>
                <a:lnTo>
                  <a:pt x="159" y="645"/>
                </a:lnTo>
                <a:lnTo>
                  <a:pt x="144" y="648"/>
                </a:lnTo>
                <a:lnTo>
                  <a:pt x="129" y="656"/>
                </a:lnTo>
                <a:lnTo>
                  <a:pt x="117" y="666"/>
                </a:lnTo>
                <a:lnTo>
                  <a:pt x="109" y="681"/>
                </a:lnTo>
                <a:lnTo>
                  <a:pt x="94" y="627"/>
                </a:lnTo>
                <a:lnTo>
                  <a:pt x="94" y="600"/>
                </a:lnTo>
                <a:lnTo>
                  <a:pt x="90" y="572"/>
                </a:lnTo>
                <a:lnTo>
                  <a:pt x="94" y="562"/>
                </a:lnTo>
                <a:lnTo>
                  <a:pt x="102" y="554"/>
                </a:lnTo>
                <a:lnTo>
                  <a:pt x="106" y="551"/>
                </a:lnTo>
                <a:lnTo>
                  <a:pt x="109" y="541"/>
                </a:lnTo>
                <a:lnTo>
                  <a:pt x="109" y="533"/>
                </a:lnTo>
                <a:lnTo>
                  <a:pt x="102" y="529"/>
                </a:lnTo>
                <a:lnTo>
                  <a:pt x="90" y="526"/>
                </a:lnTo>
                <a:lnTo>
                  <a:pt x="82" y="512"/>
                </a:lnTo>
                <a:lnTo>
                  <a:pt x="75" y="483"/>
                </a:lnTo>
                <a:lnTo>
                  <a:pt x="63" y="443"/>
                </a:lnTo>
                <a:lnTo>
                  <a:pt x="50" y="328"/>
                </a:lnTo>
                <a:lnTo>
                  <a:pt x="31" y="209"/>
                </a:lnTo>
                <a:lnTo>
                  <a:pt x="23" y="184"/>
                </a:lnTo>
                <a:lnTo>
                  <a:pt x="15" y="163"/>
                </a:lnTo>
                <a:lnTo>
                  <a:pt x="4" y="138"/>
                </a:lnTo>
                <a:lnTo>
                  <a:pt x="0" y="115"/>
                </a:lnTo>
                <a:lnTo>
                  <a:pt x="4" y="101"/>
                </a:lnTo>
                <a:lnTo>
                  <a:pt x="8" y="86"/>
                </a:lnTo>
                <a:lnTo>
                  <a:pt x="11" y="76"/>
                </a:lnTo>
                <a:lnTo>
                  <a:pt x="15" y="61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23" name="Freeform 466"/>
          <p:cNvSpPr>
            <a:spLocks/>
          </p:cNvSpPr>
          <p:nvPr/>
        </p:nvSpPr>
        <p:spPr bwMode="gray">
          <a:xfrm>
            <a:off x="6572810" y="3535238"/>
            <a:ext cx="642446" cy="518242"/>
          </a:xfrm>
          <a:custGeom>
            <a:avLst/>
            <a:gdLst>
              <a:gd name="T0" fmla="*/ 0 w 1666"/>
              <a:gd name="T1" fmla="*/ 1 h 1332"/>
              <a:gd name="T2" fmla="*/ 20 w 1666"/>
              <a:gd name="T3" fmla="*/ 12 h 1332"/>
              <a:gd name="T4" fmla="*/ 78 w 1666"/>
              <a:gd name="T5" fmla="*/ 42 h 1332"/>
              <a:gd name="T6" fmla="*/ 86 w 1666"/>
              <a:gd name="T7" fmla="*/ 49 h 1332"/>
              <a:gd name="T8" fmla="*/ 97 w 1666"/>
              <a:gd name="T9" fmla="*/ 47 h 1332"/>
              <a:gd name="T10" fmla="*/ 118 w 1666"/>
              <a:gd name="T11" fmla="*/ 59 h 1332"/>
              <a:gd name="T12" fmla="*/ 138 w 1666"/>
              <a:gd name="T13" fmla="*/ 74 h 1332"/>
              <a:gd name="T14" fmla="*/ 156 w 1666"/>
              <a:gd name="T15" fmla="*/ 93 h 1332"/>
              <a:gd name="T16" fmla="*/ 158 w 1666"/>
              <a:gd name="T17" fmla="*/ 110 h 1332"/>
              <a:gd name="T18" fmla="*/ 179 w 1666"/>
              <a:gd name="T19" fmla="*/ 117 h 1332"/>
              <a:gd name="T20" fmla="*/ 190 w 1666"/>
              <a:gd name="T21" fmla="*/ 119 h 1332"/>
              <a:gd name="T22" fmla="*/ 233 w 1666"/>
              <a:gd name="T23" fmla="*/ 127 h 1332"/>
              <a:gd name="T24" fmla="*/ 263 w 1666"/>
              <a:gd name="T25" fmla="*/ 120 h 1332"/>
              <a:gd name="T26" fmla="*/ 280 w 1666"/>
              <a:gd name="T27" fmla="*/ 120 h 1332"/>
              <a:gd name="T28" fmla="*/ 313 w 1666"/>
              <a:gd name="T29" fmla="*/ 115 h 1332"/>
              <a:gd name="T30" fmla="*/ 308 w 1666"/>
              <a:gd name="T31" fmla="*/ 137 h 1332"/>
              <a:gd name="T32" fmla="*/ 328 w 1666"/>
              <a:gd name="T33" fmla="*/ 136 h 1332"/>
              <a:gd name="T34" fmla="*/ 368 w 1666"/>
              <a:gd name="T35" fmla="*/ 132 h 1332"/>
              <a:gd name="T36" fmla="*/ 386 w 1666"/>
              <a:gd name="T37" fmla="*/ 150 h 1332"/>
              <a:gd name="T38" fmla="*/ 411 w 1666"/>
              <a:gd name="T39" fmla="*/ 166 h 1332"/>
              <a:gd name="T40" fmla="*/ 405 w 1666"/>
              <a:gd name="T41" fmla="*/ 224 h 1332"/>
              <a:gd name="T42" fmla="*/ 212 w 1666"/>
              <a:gd name="T43" fmla="*/ 292 h 1332"/>
              <a:gd name="T44" fmla="*/ 212 w 1666"/>
              <a:gd name="T45" fmla="*/ 282 h 1332"/>
              <a:gd name="T46" fmla="*/ 212 w 1666"/>
              <a:gd name="T47" fmla="*/ 273 h 1332"/>
              <a:gd name="T48" fmla="*/ 199 w 1666"/>
              <a:gd name="T49" fmla="*/ 287 h 1332"/>
              <a:gd name="T50" fmla="*/ 210 w 1666"/>
              <a:gd name="T51" fmla="*/ 301 h 1332"/>
              <a:gd name="T52" fmla="*/ 216 w 1666"/>
              <a:gd name="T53" fmla="*/ 322 h 1332"/>
              <a:gd name="T54" fmla="*/ 209 w 1666"/>
              <a:gd name="T55" fmla="*/ 332 h 1332"/>
              <a:gd name="T56" fmla="*/ 199 w 1666"/>
              <a:gd name="T57" fmla="*/ 332 h 1332"/>
              <a:gd name="T58" fmla="*/ 188 w 1666"/>
              <a:gd name="T59" fmla="*/ 325 h 1332"/>
              <a:gd name="T60" fmla="*/ 175 w 1666"/>
              <a:gd name="T61" fmla="*/ 330 h 1332"/>
              <a:gd name="T62" fmla="*/ 155 w 1666"/>
              <a:gd name="T63" fmla="*/ 326 h 1332"/>
              <a:gd name="T64" fmla="*/ 148 w 1666"/>
              <a:gd name="T65" fmla="*/ 318 h 1332"/>
              <a:gd name="T66" fmla="*/ 136 w 1666"/>
              <a:gd name="T67" fmla="*/ 309 h 1332"/>
              <a:gd name="T68" fmla="*/ 118 w 1666"/>
              <a:gd name="T69" fmla="*/ 314 h 1332"/>
              <a:gd name="T70" fmla="*/ 119 w 1666"/>
              <a:gd name="T71" fmla="*/ 303 h 1332"/>
              <a:gd name="T72" fmla="*/ 118 w 1666"/>
              <a:gd name="T73" fmla="*/ 292 h 1332"/>
              <a:gd name="T74" fmla="*/ 92 w 1666"/>
              <a:gd name="T75" fmla="*/ 283 h 1332"/>
              <a:gd name="T76" fmla="*/ 77 w 1666"/>
              <a:gd name="T77" fmla="*/ 266 h 1332"/>
              <a:gd name="T78" fmla="*/ 85 w 1666"/>
              <a:gd name="T79" fmla="*/ 248 h 1332"/>
              <a:gd name="T80" fmla="*/ 74 w 1666"/>
              <a:gd name="T81" fmla="*/ 237 h 1332"/>
              <a:gd name="T82" fmla="*/ 87 w 1666"/>
              <a:gd name="T83" fmla="*/ 238 h 1332"/>
              <a:gd name="T84" fmla="*/ 87 w 1666"/>
              <a:gd name="T85" fmla="*/ 219 h 1332"/>
              <a:gd name="T86" fmla="*/ 116 w 1666"/>
              <a:gd name="T87" fmla="*/ 224 h 1332"/>
              <a:gd name="T88" fmla="*/ 139 w 1666"/>
              <a:gd name="T89" fmla="*/ 214 h 1332"/>
              <a:gd name="T90" fmla="*/ 162 w 1666"/>
              <a:gd name="T91" fmla="*/ 205 h 1332"/>
              <a:gd name="T92" fmla="*/ 158 w 1666"/>
              <a:gd name="T93" fmla="*/ 191 h 1332"/>
              <a:gd name="T94" fmla="*/ 153 w 1666"/>
              <a:gd name="T95" fmla="*/ 174 h 1332"/>
              <a:gd name="T96" fmla="*/ 133 w 1666"/>
              <a:gd name="T97" fmla="*/ 158 h 1332"/>
              <a:gd name="T98" fmla="*/ 113 w 1666"/>
              <a:gd name="T99" fmla="*/ 147 h 1332"/>
              <a:gd name="T100" fmla="*/ 107 w 1666"/>
              <a:gd name="T101" fmla="*/ 132 h 1332"/>
              <a:gd name="T102" fmla="*/ 97 w 1666"/>
              <a:gd name="T103" fmla="*/ 99 h 1332"/>
              <a:gd name="T104" fmla="*/ 80 w 1666"/>
              <a:gd name="T105" fmla="*/ 91 h 1332"/>
              <a:gd name="T106" fmla="*/ 67 w 1666"/>
              <a:gd name="T107" fmla="*/ 79 h 1332"/>
              <a:gd name="T108" fmla="*/ 68 w 1666"/>
              <a:gd name="T109" fmla="*/ 66 h 1332"/>
              <a:gd name="T110" fmla="*/ 59 w 1666"/>
              <a:gd name="T111" fmla="*/ 59 h 1332"/>
              <a:gd name="T112" fmla="*/ 68 w 1666"/>
              <a:gd name="T113" fmla="*/ 49 h 1332"/>
              <a:gd name="T114" fmla="*/ 56 w 1666"/>
              <a:gd name="T115" fmla="*/ 56 h 1332"/>
              <a:gd name="T116" fmla="*/ 36 w 1666"/>
              <a:gd name="T117" fmla="*/ 55 h 1332"/>
              <a:gd name="T118" fmla="*/ 34 w 1666"/>
              <a:gd name="T119" fmla="*/ 35 h 1332"/>
              <a:gd name="T120" fmla="*/ 21 w 1666"/>
              <a:gd name="T121" fmla="*/ 34 h 1332"/>
              <a:gd name="T122" fmla="*/ 7 w 1666"/>
              <a:gd name="T123" fmla="*/ 9 h 133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666"/>
              <a:gd name="T187" fmla="*/ 0 h 1332"/>
              <a:gd name="T188" fmla="*/ 1666 w 1666"/>
              <a:gd name="T189" fmla="*/ 1332 h 1332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666" h="1332">
                <a:moveTo>
                  <a:pt x="25" y="34"/>
                </a:moveTo>
                <a:lnTo>
                  <a:pt x="17" y="30"/>
                </a:lnTo>
                <a:lnTo>
                  <a:pt x="8" y="28"/>
                </a:lnTo>
                <a:lnTo>
                  <a:pt x="0" y="21"/>
                </a:lnTo>
                <a:lnTo>
                  <a:pt x="0" y="13"/>
                </a:lnTo>
                <a:lnTo>
                  <a:pt x="0" y="5"/>
                </a:lnTo>
                <a:lnTo>
                  <a:pt x="8" y="2"/>
                </a:lnTo>
                <a:lnTo>
                  <a:pt x="21" y="0"/>
                </a:lnTo>
                <a:lnTo>
                  <a:pt x="33" y="2"/>
                </a:lnTo>
                <a:lnTo>
                  <a:pt x="40" y="9"/>
                </a:lnTo>
                <a:lnTo>
                  <a:pt x="56" y="28"/>
                </a:lnTo>
                <a:lnTo>
                  <a:pt x="79" y="50"/>
                </a:lnTo>
                <a:lnTo>
                  <a:pt x="106" y="67"/>
                </a:lnTo>
                <a:lnTo>
                  <a:pt x="129" y="82"/>
                </a:lnTo>
                <a:lnTo>
                  <a:pt x="150" y="96"/>
                </a:lnTo>
                <a:lnTo>
                  <a:pt x="234" y="128"/>
                </a:lnTo>
                <a:lnTo>
                  <a:pt x="271" y="146"/>
                </a:lnTo>
                <a:lnTo>
                  <a:pt x="309" y="165"/>
                </a:lnTo>
                <a:lnTo>
                  <a:pt x="317" y="172"/>
                </a:lnTo>
                <a:lnTo>
                  <a:pt x="321" y="186"/>
                </a:lnTo>
                <a:lnTo>
                  <a:pt x="328" y="194"/>
                </a:lnTo>
                <a:lnTo>
                  <a:pt x="332" y="197"/>
                </a:lnTo>
                <a:lnTo>
                  <a:pt x="340" y="201"/>
                </a:lnTo>
                <a:lnTo>
                  <a:pt x="344" y="197"/>
                </a:lnTo>
                <a:lnTo>
                  <a:pt x="347" y="194"/>
                </a:lnTo>
                <a:lnTo>
                  <a:pt x="351" y="190"/>
                </a:lnTo>
                <a:lnTo>
                  <a:pt x="359" y="190"/>
                </a:lnTo>
                <a:lnTo>
                  <a:pt x="374" y="194"/>
                </a:lnTo>
                <a:lnTo>
                  <a:pt x="378" y="194"/>
                </a:lnTo>
                <a:lnTo>
                  <a:pt x="386" y="190"/>
                </a:lnTo>
                <a:lnTo>
                  <a:pt x="390" y="207"/>
                </a:lnTo>
                <a:lnTo>
                  <a:pt x="395" y="222"/>
                </a:lnTo>
                <a:lnTo>
                  <a:pt x="403" y="230"/>
                </a:lnTo>
                <a:lnTo>
                  <a:pt x="418" y="232"/>
                </a:lnTo>
                <a:lnTo>
                  <a:pt x="453" y="236"/>
                </a:lnTo>
                <a:lnTo>
                  <a:pt x="472" y="236"/>
                </a:lnTo>
                <a:lnTo>
                  <a:pt x="491" y="243"/>
                </a:lnTo>
                <a:lnTo>
                  <a:pt x="503" y="251"/>
                </a:lnTo>
                <a:lnTo>
                  <a:pt x="511" y="261"/>
                </a:lnTo>
                <a:lnTo>
                  <a:pt x="518" y="272"/>
                </a:lnTo>
                <a:lnTo>
                  <a:pt x="524" y="280"/>
                </a:lnTo>
                <a:lnTo>
                  <a:pt x="551" y="293"/>
                </a:lnTo>
                <a:lnTo>
                  <a:pt x="585" y="313"/>
                </a:lnTo>
                <a:lnTo>
                  <a:pt x="601" y="324"/>
                </a:lnTo>
                <a:lnTo>
                  <a:pt x="612" y="339"/>
                </a:lnTo>
                <a:lnTo>
                  <a:pt x="624" y="349"/>
                </a:lnTo>
                <a:lnTo>
                  <a:pt x="624" y="361"/>
                </a:lnTo>
                <a:lnTo>
                  <a:pt x="624" y="372"/>
                </a:lnTo>
                <a:lnTo>
                  <a:pt x="620" y="386"/>
                </a:lnTo>
                <a:lnTo>
                  <a:pt x="612" y="405"/>
                </a:lnTo>
                <a:lnTo>
                  <a:pt x="612" y="418"/>
                </a:lnTo>
                <a:lnTo>
                  <a:pt x="616" y="430"/>
                </a:lnTo>
                <a:lnTo>
                  <a:pt x="624" y="439"/>
                </a:lnTo>
                <a:lnTo>
                  <a:pt x="632" y="443"/>
                </a:lnTo>
                <a:lnTo>
                  <a:pt x="643" y="447"/>
                </a:lnTo>
                <a:lnTo>
                  <a:pt x="653" y="451"/>
                </a:lnTo>
                <a:lnTo>
                  <a:pt x="683" y="451"/>
                </a:lnTo>
                <a:lnTo>
                  <a:pt x="695" y="455"/>
                </a:lnTo>
                <a:lnTo>
                  <a:pt x="703" y="458"/>
                </a:lnTo>
                <a:lnTo>
                  <a:pt x="714" y="468"/>
                </a:lnTo>
                <a:lnTo>
                  <a:pt x="722" y="483"/>
                </a:lnTo>
                <a:lnTo>
                  <a:pt x="726" y="487"/>
                </a:lnTo>
                <a:lnTo>
                  <a:pt x="733" y="487"/>
                </a:lnTo>
                <a:lnTo>
                  <a:pt x="745" y="487"/>
                </a:lnTo>
                <a:lnTo>
                  <a:pt x="752" y="480"/>
                </a:lnTo>
                <a:lnTo>
                  <a:pt x="760" y="476"/>
                </a:lnTo>
                <a:lnTo>
                  <a:pt x="770" y="472"/>
                </a:lnTo>
                <a:lnTo>
                  <a:pt x="781" y="472"/>
                </a:lnTo>
                <a:lnTo>
                  <a:pt x="797" y="476"/>
                </a:lnTo>
                <a:lnTo>
                  <a:pt x="823" y="487"/>
                </a:lnTo>
                <a:lnTo>
                  <a:pt x="870" y="508"/>
                </a:lnTo>
                <a:lnTo>
                  <a:pt x="933" y="508"/>
                </a:lnTo>
                <a:lnTo>
                  <a:pt x="948" y="508"/>
                </a:lnTo>
                <a:lnTo>
                  <a:pt x="964" y="505"/>
                </a:lnTo>
                <a:lnTo>
                  <a:pt x="994" y="493"/>
                </a:lnTo>
                <a:lnTo>
                  <a:pt x="1021" y="483"/>
                </a:lnTo>
                <a:lnTo>
                  <a:pt x="1035" y="480"/>
                </a:lnTo>
                <a:lnTo>
                  <a:pt x="1050" y="480"/>
                </a:lnTo>
                <a:lnTo>
                  <a:pt x="1065" y="483"/>
                </a:lnTo>
                <a:lnTo>
                  <a:pt x="1073" y="487"/>
                </a:lnTo>
                <a:lnTo>
                  <a:pt x="1081" y="493"/>
                </a:lnTo>
                <a:lnTo>
                  <a:pt x="1096" y="497"/>
                </a:lnTo>
                <a:lnTo>
                  <a:pt x="1108" y="493"/>
                </a:lnTo>
                <a:lnTo>
                  <a:pt x="1119" y="483"/>
                </a:lnTo>
                <a:lnTo>
                  <a:pt x="1142" y="464"/>
                </a:lnTo>
                <a:lnTo>
                  <a:pt x="1167" y="458"/>
                </a:lnTo>
                <a:lnTo>
                  <a:pt x="1194" y="451"/>
                </a:lnTo>
                <a:lnTo>
                  <a:pt x="1225" y="447"/>
                </a:lnTo>
                <a:lnTo>
                  <a:pt x="1252" y="439"/>
                </a:lnTo>
                <a:lnTo>
                  <a:pt x="1252" y="462"/>
                </a:lnTo>
                <a:lnTo>
                  <a:pt x="1232" y="487"/>
                </a:lnTo>
                <a:lnTo>
                  <a:pt x="1217" y="508"/>
                </a:lnTo>
                <a:lnTo>
                  <a:pt x="1194" y="566"/>
                </a:lnTo>
                <a:lnTo>
                  <a:pt x="1205" y="562"/>
                </a:lnTo>
                <a:lnTo>
                  <a:pt x="1213" y="554"/>
                </a:lnTo>
                <a:lnTo>
                  <a:pt x="1229" y="545"/>
                </a:lnTo>
                <a:lnTo>
                  <a:pt x="1244" y="533"/>
                </a:lnTo>
                <a:lnTo>
                  <a:pt x="1252" y="529"/>
                </a:lnTo>
                <a:lnTo>
                  <a:pt x="1263" y="526"/>
                </a:lnTo>
                <a:lnTo>
                  <a:pt x="1284" y="529"/>
                </a:lnTo>
                <a:lnTo>
                  <a:pt x="1300" y="537"/>
                </a:lnTo>
                <a:lnTo>
                  <a:pt x="1311" y="541"/>
                </a:lnTo>
                <a:lnTo>
                  <a:pt x="1330" y="545"/>
                </a:lnTo>
                <a:lnTo>
                  <a:pt x="1369" y="541"/>
                </a:lnTo>
                <a:lnTo>
                  <a:pt x="1395" y="533"/>
                </a:lnTo>
                <a:lnTo>
                  <a:pt x="1420" y="526"/>
                </a:lnTo>
                <a:lnTo>
                  <a:pt x="1455" y="526"/>
                </a:lnTo>
                <a:lnTo>
                  <a:pt x="1470" y="526"/>
                </a:lnTo>
                <a:lnTo>
                  <a:pt x="1482" y="529"/>
                </a:lnTo>
                <a:lnTo>
                  <a:pt x="1493" y="533"/>
                </a:lnTo>
                <a:lnTo>
                  <a:pt x="1501" y="541"/>
                </a:lnTo>
                <a:lnTo>
                  <a:pt x="1516" y="558"/>
                </a:lnTo>
                <a:lnTo>
                  <a:pt x="1530" y="577"/>
                </a:lnTo>
                <a:lnTo>
                  <a:pt x="1541" y="599"/>
                </a:lnTo>
                <a:lnTo>
                  <a:pt x="1553" y="616"/>
                </a:lnTo>
                <a:lnTo>
                  <a:pt x="1568" y="627"/>
                </a:lnTo>
                <a:lnTo>
                  <a:pt x="1580" y="635"/>
                </a:lnTo>
                <a:lnTo>
                  <a:pt x="1591" y="635"/>
                </a:lnTo>
                <a:lnTo>
                  <a:pt x="1618" y="645"/>
                </a:lnTo>
                <a:lnTo>
                  <a:pt x="1641" y="664"/>
                </a:lnTo>
                <a:lnTo>
                  <a:pt x="1651" y="677"/>
                </a:lnTo>
                <a:lnTo>
                  <a:pt x="1658" y="689"/>
                </a:lnTo>
                <a:lnTo>
                  <a:pt x="1666" y="702"/>
                </a:lnTo>
                <a:lnTo>
                  <a:pt x="1666" y="718"/>
                </a:lnTo>
                <a:lnTo>
                  <a:pt x="1622" y="890"/>
                </a:lnTo>
                <a:lnTo>
                  <a:pt x="1618" y="896"/>
                </a:lnTo>
                <a:lnTo>
                  <a:pt x="1545" y="817"/>
                </a:lnTo>
                <a:lnTo>
                  <a:pt x="902" y="1224"/>
                </a:lnTo>
                <a:lnTo>
                  <a:pt x="893" y="1203"/>
                </a:lnTo>
                <a:lnTo>
                  <a:pt x="881" y="1182"/>
                </a:lnTo>
                <a:lnTo>
                  <a:pt x="870" y="1174"/>
                </a:lnTo>
                <a:lnTo>
                  <a:pt x="850" y="1167"/>
                </a:lnTo>
                <a:lnTo>
                  <a:pt x="839" y="1159"/>
                </a:lnTo>
                <a:lnTo>
                  <a:pt x="831" y="1153"/>
                </a:lnTo>
                <a:lnTo>
                  <a:pt x="831" y="1146"/>
                </a:lnTo>
                <a:lnTo>
                  <a:pt x="831" y="1138"/>
                </a:lnTo>
                <a:lnTo>
                  <a:pt x="835" y="1134"/>
                </a:lnTo>
                <a:lnTo>
                  <a:pt x="850" y="1126"/>
                </a:lnTo>
                <a:lnTo>
                  <a:pt x="862" y="1117"/>
                </a:lnTo>
                <a:lnTo>
                  <a:pt x="870" y="1113"/>
                </a:lnTo>
                <a:lnTo>
                  <a:pt x="870" y="1105"/>
                </a:lnTo>
                <a:lnTo>
                  <a:pt x="870" y="1098"/>
                </a:lnTo>
                <a:lnTo>
                  <a:pt x="862" y="1092"/>
                </a:lnTo>
                <a:lnTo>
                  <a:pt x="850" y="1092"/>
                </a:lnTo>
                <a:lnTo>
                  <a:pt x="843" y="1092"/>
                </a:lnTo>
                <a:lnTo>
                  <a:pt x="835" y="1096"/>
                </a:lnTo>
                <a:lnTo>
                  <a:pt x="816" y="1109"/>
                </a:lnTo>
                <a:lnTo>
                  <a:pt x="800" y="1126"/>
                </a:lnTo>
                <a:lnTo>
                  <a:pt x="797" y="1138"/>
                </a:lnTo>
                <a:lnTo>
                  <a:pt x="793" y="1146"/>
                </a:lnTo>
                <a:lnTo>
                  <a:pt x="797" y="1155"/>
                </a:lnTo>
                <a:lnTo>
                  <a:pt x="797" y="1163"/>
                </a:lnTo>
                <a:lnTo>
                  <a:pt x="808" y="1178"/>
                </a:lnTo>
                <a:lnTo>
                  <a:pt x="823" y="1184"/>
                </a:lnTo>
                <a:lnTo>
                  <a:pt x="839" y="1196"/>
                </a:lnTo>
                <a:lnTo>
                  <a:pt x="843" y="1203"/>
                </a:lnTo>
                <a:lnTo>
                  <a:pt x="843" y="1213"/>
                </a:lnTo>
                <a:lnTo>
                  <a:pt x="839" y="1240"/>
                </a:lnTo>
                <a:lnTo>
                  <a:pt x="843" y="1245"/>
                </a:lnTo>
                <a:lnTo>
                  <a:pt x="847" y="1253"/>
                </a:lnTo>
                <a:lnTo>
                  <a:pt x="854" y="1270"/>
                </a:lnTo>
                <a:lnTo>
                  <a:pt x="866" y="1286"/>
                </a:lnTo>
                <a:lnTo>
                  <a:pt x="870" y="1297"/>
                </a:lnTo>
                <a:lnTo>
                  <a:pt x="873" y="1307"/>
                </a:lnTo>
                <a:lnTo>
                  <a:pt x="862" y="1322"/>
                </a:lnTo>
                <a:lnTo>
                  <a:pt x="854" y="1328"/>
                </a:lnTo>
                <a:lnTo>
                  <a:pt x="850" y="1332"/>
                </a:lnTo>
                <a:lnTo>
                  <a:pt x="839" y="1328"/>
                </a:lnTo>
                <a:lnTo>
                  <a:pt x="827" y="1326"/>
                </a:lnTo>
                <a:lnTo>
                  <a:pt x="820" y="1318"/>
                </a:lnTo>
                <a:lnTo>
                  <a:pt x="812" y="1315"/>
                </a:lnTo>
                <a:lnTo>
                  <a:pt x="804" y="1315"/>
                </a:lnTo>
                <a:lnTo>
                  <a:pt x="797" y="1322"/>
                </a:lnTo>
                <a:lnTo>
                  <a:pt x="793" y="1326"/>
                </a:lnTo>
                <a:lnTo>
                  <a:pt x="785" y="1326"/>
                </a:lnTo>
                <a:lnTo>
                  <a:pt x="777" y="1326"/>
                </a:lnTo>
                <a:lnTo>
                  <a:pt x="774" y="1322"/>
                </a:lnTo>
                <a:lnTo>
                  <a:pt x="764" y="1311"/>
                </a:lnTo>
                <a:lnTo>
                  <a:pt x="756" y="1299"/>
                </a:lnTo>
                <a:lnTo>
                  <a:pt x="749" y="1297"/>
                </a:lnTo>
                <a:lnTo>
                  <a:pt x="745" y="1297"/>
                </a:lnTo>
                <a:lnTo>
                  <a:pt x="733" y="1299"/>
                </a:lnTo>
                <a:lnTo>
                  <a:pt x="726" y="1307"/>
                </a:lnTo>
                <a:lnTo>
                  <a:pt x="718" y="1326"/>
                </a:lnTo>
                <a:lnTo>
                  <a:pt x="706" y="1318"/>
                </a:lnTo>
                <a:lnTo>
                  <a:pt x="699" y="1318"/>
                </a:lnTo>
                <a:lnTo>
                  <a:pt x="645" y="1318"/>
                </a:lnTo>
                <a:lnTo>
                  <a:pt x="635" y="1318"/>
                </a:lnTo>
                <a:lnTo>
                  <a:pt x="628" y="1326"/>
                </a:lnTo>
                <a:lnTo>
                  <a:pt x="624" y="1318"/>
                </a:lnTo>
                <a:lnTo>
                  <a:pt x="620" y="1311"/>
                </a:lnTo>
                <a:lnTo>
                  <a:pt x="620" y="1303"/>
                </a:lnTo>
                <a:lnTo>
                  <a:pt x="620" y="1297"/>
                </a:lnTo>
                <a:lnTo>
                  <a:pt x="612" y="1286"/>
                </a:lnTo>
                <a:lnTo>
                  <a:pt x="601" y="1282"/>
                </a:lnTo>
                <a:lnTo>
                  <a:pt x="593" y="1278"/>
                </a:lnTo>
                <a:lnTo>
                  <a:pt x="589" y="1274"/>
                </a:lnTo>
                <a:lnTo>
                  <a:pt x="589" y="1270"/>
                </a:lnTo>
                <a:lnTo>
                  <a:pt x="589" y="1240"/>
                </a:lnTo>
                <a:lnTo>
                  <a:pt x="589" y="1213"/>
                </a:lnTo>
                <a:lnTo>
                  <a:pt x="566" y="1213"/>
                </a:lnTo>
                <a:lnTo>
                  <a:pt x="555" y="1217"/>
                </a:lnTo>
                <a:lnTo>
                  <a:pt x="547" y="1224"/>
                </a:lnTo>
                <a:lnTo>
                  <a:pt x="543" y="1236"/>
                </a:lnTo>
                <a:lnTo>
                  <a:pt x="539" y="1249"/>
                </a:lnTo>
                <a:lnTo>
                  <a:pt x="536" y="1270"/>
                </a:lnTo>
                <a:lnTo>
                  <a:pt x="532" y="1282"/>
                </a:lnTo>
                <a:lnTo>
                  <a:pt x="520" y="1282"/>
                </a:lnTo>
                <a:lnTo>
                  <a:pt x="491" y="1268"/>
                </a:lnTo>
                <a:lnTo>
                  <a:pt x="472" y="1253"/>
                </a:lnTo>
                <a:lnTo>
                  <a:pt x="465" y="1242"/>
                </a:lnTo>
                <a:lnTo>
                  <a:pt x="468" y="1236"/>
                </a:lnTo>
                <a:lnTo>
                  <a:pt x="472" y="1228"/>
                </a:lnTo>
                <a:lnTo>
                  <a:pt x="476" y="1224"/>
                </a:lnTo>
                <a:lnTo>
                  <a:pt x="480" y="1217"/>
                </a:lnTo>
                <a:lnTo>
                  <a:pt x="476" y="1211"/>
                </a:lnTo>
                <a:lnTo>
                  <a:pt x="472" y="1203"/>
                </a:lnTo>
                <a:lnTo>
                  <a:pt x="468" y="1196"/>
                </a:lnTo>
                <a:lnTo>
                  <a:pt x="465" y="1184"/>
                </a:lnTo>
                <a:lnTo>
                  <a:pt x="465" y="1178"/>
                </a:lnTo>
                <a:lnTo>
                  <a:pt x="468" y="1174"/>
                </a:lnTo>
                <a:lnTo>
                  <a:pt x="472" y="1167"/>
                </a:lnTo>
                <a:lnTo>
                  <a:pt x="449" y="1155"/>
                </a:lnTo>
                <a:lnTo>
                  <a:pt x="426" y="1153"/>
                </a:lnTo>
                <a:lnTo>
                  <a:pt x="407" y="1149"/>
                </a:lnTo>
                <a:lnTo>
                  <a:pt x="386" y="1142"/>
                </a:lnTo>
                <a:lnTo>
                  <a:pt x="374" y="1138"/>
                </a:lnTo>
                <a:lnTo>
                  <a:pt x="367" y="1130"/>
                </a:lnTo>
                <a:lnTo>
                  <a:pt x="355" y="1113"/>
                </a:lnTo>
                <a:lnTo>
                  <a:pt x="344" y="1096"/>
                </a:lnTo>
                <a:lnTo>
                  <a:pt x="332" y="1077"/>
                </a:lnTo>
                <a:lnTo>
                  <a:pt x="324" y="1073"/>
                </a:lnTo>
                <a:lnTo>
                  <a:pt x="313" y="1069"/>
                </a:lnTo>
                <a:lnTo>
                  <a:pt x="305" y="1063"/>
                </a:lnTo>
                <a:lnTo>
                  <a:pt x="301" y="1055"/>
                </a:lnTo>
                <a:lnTo>
                  <a:pt x="305" y="1048"/>
                </a:lnTo>
                <a:lnTo>
                  <a:pt x="309" y="1038"/>
                </a:lnTo>
                <a:lnTo>
                  <a:pt x="324" y="1023"/>
                </a:lnTo>
                <a:lnTo>
                  <a:pt x="336" y="1005"/>
                </a:lnTo>
                <a:lnTo>
                  <a:pt x="340" y="994"/>
                </a:lnTo>
                <a:lnTo>
                  <a:pt x="344" y="986"/>
                </a:lnTo>
                <a:lnTo>
                  <a:pt x="328" y="981"/>
                </a:lnTo>
                <a:lnTo>
                  <a:pt x="317" y="973"/>
                </a:lnTo>
                <a:lnTo>
                  <a:pt x="305" y="965"/>
                </a:lnTo>
                <a:lnTo>
                  <a:pt x="294" y="954"/>
                </a:lnTo>
                <a:lnTo>
                  <a:pt x="294" y="948"/>
                </a:lnTo>
                <a:lnTo>
                  <a:pt x="298" y="944"/>
                </a:lnTo>
                <a:lnTo>
                  <a:pt x="301" y="940"/>
                </a:lnTo>
                <a:lnTo>
                  <a:pt x="309" y="940"/>
                </a:lnTo>
                <a:lnTo>
                  <a:pt x="324" y="944"/>
                </a:lnTo>
                <a:lnTo>
                  <a:pt x="336" y="948"/>
                </a:lnTo>
                <a:lnTo>
                  <a:pt x="347" y="954"/>
                </a:lnTo>
                <a:lnTo>
                  <a:pt x="363" y="954"/>
                </a:lnTo>
                <a:lnTo>
                  <a:pt x="382" y="954"/>
                </a:lnTo>
                <a:lnTo>
                  <a:pt x="374" y="929"/>
                </a:lnTo>
                <a:lnTo>
                  <a:pt x="367" y="911"/>
                </a:lnTo>
                <a:lnTo>
                  <a:pt x="336" y="883"/>
                </a:lnTo>
                <a:lnTo>
                  <a:pt x="347" y="879"/>
                </a:lnTo>
                <a:lnTo>
                  <a:pt x="367" y="883"/>
                </a:lnTo>
                <a:lnTo>
                  <a:pt x="386" y="894"/>
                </a:lnTo>
                <a:lnTo>
                  <a:pt x="403" y="900"/>
                </a:lnTo>
                <a:lnTo>
                  <a:pt x="426" y="904"/>
                </a:lnTo>
                <a:lnTo>
                  <a:pt x="445" y="904"/>
                </a:lnTo>
                <a:lnTo>
                  <a:pt x="465" y="896"/>
                </a:lnTo>
                <a:lnTo>
                  <a:pt x="476" y="890"/>
                </a:lnTo>
                <a:lnTo>
                  <a:pt x="488" y="883"/>
                </a:lnTo>
                <a:lnTo>
                  <a:pt x="511" y="865"/>
                </a:lnTo>
                <a:lnTo>
                  <a:pt x="524" y="862"/>
                </a:lnTo>
                <a:lnTo>
                  <a:pt x="543" y="858"/>
                </a:lnTo>
                <a:lnTo>
                  <a:pt x="555" y="858"/>
                </a:lnTo>
                <a:lnTo>
                  <a:pt x="562" y="854"/>
                </a:lnTo>
                <a:lnTo>
                  <a:pt x="570" y="838"/>
                </a:lnTo>
                <a:lnTo>
                  <a:pt x="578" y="829"/>
                </a:lnTo>
                <a:lnTo>
                  <a:pt x="585" y="821"/>
                </a:lnTo>
                <a:lnTo>
                  <a:pt x="593" y="821"/>
                </a:lnTo>
                <a:lnTo>
                  <a:pt x="645" y="821"/>
                </a:lnTo>
                <a:lnTo>
                  <a:pt x="645" y="808"/>
                </a:lnTo>
                <a:lnTo>
                  <a:pt x="632" y="796"/>
                </a:lnTo>
                <a:lnTo>
                  <a:pt x="628" y="789"/>
                </a:lnTo>
                <a:lnTo>
                  <a:pt x="624" y="781"/>
                </a:lnTo>
                <a:lnTo>
                  <a:pt x="628" y="775"/>
                </a:lnTo>
                <a:lnTo>
                  <a:pt x="632" y="767"/>
                </a:lnTo>
                <a:lnTo>
                  <a:pt x="639" y="760"/>
                </a:lnTo>
                <a:lnTo>
                  <a:pt x="643" y="752"/>
                </a:lnTo>
                <a:lnTo>
                  <a:pt x="639" y="739"/>
                </a:lnTo>
                <a:lnTo>
                  <a:pt x="632" y="723"/>
                </a:lnTo>
                <a:lnTo>
                  <a:pt x="624" y="714"/>
                </a:lnTo>
                <a:lnTo>
                  <a:pt x="612" y="698"/>
                </a:lnTo>
                <a:lnTo>
                  <a:pt x="562" y="664"/>
                </a:lnTo>
                <a:lnTo>
                  <a:pt x="555" y="656"/>
                </a:lnTo>
                <a:lnTo>
                  <a:pt x="543" y="652"/>
                </a:lnTo>
                <a:lnTo>
                  <a:pt x="536" y="648"/>
                </a:lnTo>
                <a:lnTo>
                  <a:pt x="532" y="641"/>
                </a:lnTo>
                <a:lnTo>
                  <a:pt x="532" y="631"/>
                </a:lnTo>
                <a:lnTo>
                  <a:pt x="536" y="624"/>
                </a:lnTo>
                <a:lnTo>
                  <a:pt x="547" y="606"/>
                </a:lnTo>
                <a:lnTo>
                  <a:pt x="524" y="606"/>
                </a:lnTo>
                <a:lnTo>
                  <a:pt x="495" y="602"/>
                </a:lnTo>
                <a:lnTo>
                  <a:pt x="465" y="591"/>
                </a:lnTo>
                <a:lnTo>
                  <a:pt x="453" y="587"/>
                </a:lnTo>
                <a:lnTo>
                  <a:pt x="453" y="583"/>
                </a:lnTo>
                <a:lnTo>
                  <a:pt x="457" y="577"/>
                </a:lnTo>
                <a:lnTo>
                  <a:pt x="465" y="570"/>
                </a:lnTo>
                <a:lnTo>
                  <a:pt x="480" y="562"/>
                </a:lnTo>
                <a:lnTo>
                  <a:pt x="438" y="533"/>
                </a:lnTo>
                <a:lnTo>
                  <a:pt x="430" y="526"/>
                </a:lnTo>
                <a:lnTo>
                  <a:pt x="426" y="520"/>
                </a:lnTo>
                <a:lnTo>
                  <a:pt x="418" y="508"/>
                </a:lnTo>
                <a:lnTo>
                  <a:pt x="418" y="493"/>
                </a:lnTo>
                <a:lnTo>
                  <a:pt x="415" y="462"/>
                </a:lnTo>
                <a:lnTo>
                  <a:pt x="403" y="430"/>
                </a:lnTo>
                <a:lnTo>
                  <a:pt x="386" y="397"/>
                </a:lnTo>
                <a:lnTo>
                  <a:pt x="371" y="372"/>
                </a:lnTo>
                <a:lnTo>
                  <a:pt x="363" y="368"/>
                </a:lnTo>
                <a:lnTo>
                  <a:pt x="351" y="368"/>
                </a:lnTo>
                <a:lnTo>
                  <a:pt x="344" y="368"/>
                </a:lnTo>
                <a:lnTo>
                  <a:pt x="332" y="364"/>
                </a:lnTo>
                <a:lnTo>
                  <a:pt x="317" y="364"/>
                </a:lnTo>
                <a:lnTo>
                  <a:pt x="305" y="361"/>
                </a:lnTo>
                <a:lnTo>
                  <a:pt x="294" y="357"/>
                </a:lnTo>
                <a:lnTo>
                  <a:pt x="282" y="349"/>
                </a:lnTo>
                <a:lnTo>
                  <a:pt x="275" y="339"/>
                </a:lnTo>
                <a:lnTo>
                  <a:pt x="267" y="328"/>
                </a:lnTo>
                <a:lnTo>
                  <a:pt x="265" y="316"/>
                </a:lnTo>
                <a:lnTo>
                  <a:pt x="261" y="301"/>
                </a:lnTo>
                <a:lnTo>
                  <a:pt x="265" y="290"/>
                </a:lnTo>
                <a:lnTo>
                  <a:pt x="267" y="284"/>
                </a:lnTo>
                <a:lnTo>
                  <a:pt x="271" y="276"/>
                </a:lnTo>
                <a:lnTo>
                  <a:pt x="275" y="265"/>
                </a:lnTo>
                <a:lnTo>
                  <a:pt x="271" y="261"/>
                </a:lnTo>
                <a:lnTo>
                  <a:pt x="267" y="259"/>
                </a:lnTo>
                <a:lnTo>
                  <a:pt x="257" y="255"/>
                </a:lnTo>
                <a:lnTo>
                  <a:pt x="242" y="251"/>
                </a:lnTo>
                <a:lnTo>
                  <a:pt x="238" y="251"/>
                </a:lnTo>
                <a:lnTo>
                  <a:pt x="234" y="243"/>
                </a:lnTo>
                <a:lnTo>
                  <a:pt x="238" y="236"/>
                </a:lnTo>
                <a:lnTo>
                  <a:pt x="242" y="232"/>
                </a:lnTo>
                <a:lnTo>
                  <a:pt x="257" y="222"/>
                </a:lnTo>
                <a:lnTo>
                  <a:pt x="267" y="215"/>
                </a:lnTo>
                <a:lnTo>
                  <a:pt x="271" y="207"/>
                </a:lnTo>
                <a:lnTo>
                  <a:pt x="275" y="201"/>
                </a:lnTo>
                <a:lnTo>
                  <a:pt x="271" y="197"/>
                </a:lnTo>
                <a:lnTo>
                  <a:pt x="267" y="194"/>
                </a:lnTo>
                <a:lnTo>
                  <a:pt x="257" y="194"/>
                </a:lnTo>
                <a:lnTo>
                  <a:pt x="246" y="194"/>
                </a:lnTo>
                <a:lnTo>
                  <a:pt x="238" y="201"/>
                </a:lnTo>
                <a:lnTo>
                  <a:pt x="230" y="211"/>
                </a:lnTo>
                <a:lnTo>
                  <a:pt x="227" y="226"/>
                </a:lnTo>
                <a:lnTo>
                  <a:pt x="219" y="230"/>
                </a:lnTo>
                <a:lnTo>
                  <a:pt x="215" y="232"/>
                </a:lnTo>
                <a:lnTo>
                  <a:pt x="165" y="232"/>
                </a:lnTo>
                <a:lnTo>
                  <a:pt x="150" y="230"/>
                </a:lnTo>
                <a:lnTo>
                  <a:pt x="146" y="230"/>
                </a:lnTo>
                <a:lnTo>
                  <a:pt x="142" y="222"/>
                </a:lnTo>
                <a:lnTo>
                  <a:pt x="146" y="215"/>
                </a:lnTo>
                <a:lnTo>
                  <a:pt x="154" y="207"/>
                </a:lnTo>
                <a:lnTo>
                  <a:pt x="173" y="203"/>
                </a:lnTo>
                <a:lnTo>
                  <a:pt x="150" y="174"/>
                </a:lnTo>
                <a:lnTo>
                  <a:pt x="140" y="161"/>
                </a:lnTo>
                <a:lnTo>
                  <a:pt x="136" y="140"/>
                </a:lnTo>
                <a:lnTo>
                  <a:pt x="125" y="140"/>
                </a:lnTo>
                <a:lnTo>
                  <a:pt x="117" y="144"/>
                </a:lnTo>
                <a:lnTo>
                  <a:pt x="109" y="146"/>
                </a:lnTo>
                <a:lnTo>
                  <a:pt x="106" y="149"/>
                </a:lnTo>
                <a:lnTo>
                  <a:pt x="94" y="146"/>
                </a:lnTo>
                <a:lnTo>
                  <a:pt x="83" y="136"/>
                </a:lnTo>
                <a:lnTo>
                  <a:pt x="71" y="117"/>
                </a:lnTo>
                <a:lnTo>
                  <a:pt x="60" y="100"/>
                </a:lnTo>
                <a:lnTo>
                  <a:pt x="40" y="59"/>
                </a:lnTo>
                <a:lnTo>
                  <a:pt x="33" y="46"/>
                </a:lnTo>
                <a:lnTo>
                  <a:pt x="21" y="34"/>
                </a:lnTo>
                <a:lnTo>
                  <a:pt x="25" y="34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24" name="Freeform 468"/>
          <p:cNvSpPr>
            <a:spLocks/>
          </p:cNvSpPr>
          <p:nvPr/>
        </p:nvSpPr>
        <p:spPr bwMode="gray">
          <a:xfrm>
            <a:off x="5660427" y="4044920"/>
            <a:ext cx="1012644" cy="893306"/>
          </a:xfrm>
          <a:custGeom>
            <a:avLst/>
            <a:gdLst>
              <a:gd name="T0" fmla="*/ 474 w 2626"/>
              <a:gd name="T1" fmla="*/ 336 h 2295"/>
              <a:gd name="T2" fmla="*/ 504 w 2626"/>
              <a:gd name="T3" fmla="*/ 365 h 2295"/>
              <a:gd name="T4" fmla="*/ 536 w 2626"/>
              <a:gd name="T5" fmla="*/ 364 h 2295"/>
              <a:gd name="T6" fmla="*/ 562 w 2626"/>
              <a:gd name="T7" fmla="*/ 373 h 2295"/>
              <a:gd name="T8" fmla="*/ 585 w 2626"/>
              <a:gd name="T9" fmla="*/ 382 h 2295"/>
              <a:gd name="T10" fmla="*/ 604 w 2626"/>
              <a:gd name="T11" fmla="*/ 380 h 2295"/>
              <a:gd name="T12" fmla="*/ 625 w 2626"/>
              <a:gd name="T13" fmla="*/ 365 h 2295"/>
              <a:gd name="T14" fmla="*/ 652 w 2626"/>
              <a:gd name="T15" fmla="*/ 372 h 2295"/>
              <a:gd name="T16" fmla="*/ 632 w 2626"/>
              <a:gd name="T17" fmla="*/ 400 h 2295"/>
              <a:gd name="T18" fmla="*/ 610 w 2626"/>
              <a:gd name="T19" fmla="*/ 430 h 2295"/>
              <a:gd name="T20" fmla="*/ 573 w 2626"/>
              <a:gd name="T21" fmla="*/ 454 h 2295"/>
              <a:gd name="T22" fmla="*/ 520 w 2626"/>
              <a:gd name="T23" fmla="*/ 483 h 2295"/>
              <a:gd name="T24" fmla="*/ 514 w 2626"/>
              <a:gd name="T25" fmla="*/ 499 h 2295"/>
              <a:gd name="T26" fmla="*/ 540 w 2626"/>
              <a:gd name="T27" fmla="*/ 506 h 2295"/>
              <a:gd name="T28" fmla="*/ 504 w 2626"/>
              <a:gd name="T29" fmla="*/ 527 h 2295"/>
              <a:gd name="T30" fmla="*/ 468 w 2626"/>
              <a:gd name="T31" fmla="*/ 540 h 2295"/>
              <a:gd name="T32" fmla="*/ 442 w 2626"/>
              <a:gd name="T33" fmla="*/ 568 h 2295"/>
              <a:gd name="T34" fmla="*/ 420 w 2626"/>
              <a:gd name="T35" fmla="*/ 570 h 2295"/>
              <a:gd name="T36" fmla="*/ 435 w 2626"/>
              <a:gd name="T37" fmla="*/ 547 h 2295"/>
              <a:gd name="T38" fmla="*/ 446 w 2626"/>
              <a:gd name="T39" fmla="*/ 518 h 2295"/>
              <a:gd name="T40" fmla="*/ 444 w 2626"/>
              <a:gd name="T41" fmla="*/ 483 h 2295"/>
              <a:gd name="T42" fmla="*/ 448 w 2626"/>
              <a:gd name="T43" fmla="*/ 449 h 2295"/>
              <a:gd name="T44" fmla="*/ 434 w 2626"/>
              <a:gd name="T45" fmla="*/ 435 h 2295"/>
              <a:gd name="T46" fmla="*/ 447 w 2626"/>
              <a:gd name="T47" fmla="*/ 437 h 2295"/>
              <a:gd name="T48" fmla="*/ 465 w 2626"/>
              <a:gd name="T49" fmla="*/ 450 h 2295"/>
              <a:gd name="T50" fmla="*/ 490 w 2626"/>
              <a:gd name="T51" fmla="*/ 453 h 2295"/>
              <a:gd name="T52" fmla="*/ 481 w 2626"/>
              <a:gd name="T53" fmla="*/ 438 h 2295"/>
              <a:gd name="T54" fmla="*/ 479 w 2626"/>
              <a:gd name="T55" fmla="*/ 422 h 2295"/>
              <a:gd name="T56" fmla="*/ 401 w 2626"/>
              <a:gd name="T57" fmla="*/ 401 h 2295"/>
              <a:gd name="T58" fmla="*/ 341 w 2626"/>
              <a:gd name="T59" fmla="*/ 399 h 2295"/>
              <a:gd name="T60" fmla="*/ 331 w 2626"/>
              <a:gd name="T61" fmla="*/ 391 h 2295"/>
              <a:gd name="T62" fmla="*/ 323 w 2626"/>
              <a:gd name="T63" fmla="*/ 376 h 2295"/>
              <a:gd name="T64" fmla="*/ 313 w 2626"/>
              <a:gd name="T65" fmla="*/ 360 h 2295"/>
              <a:gd name="T66" fmla="*/ 305 w 2626"/>
              <a:gd name="T67" fmla="*/ 344 h 2295"/>
              <a:gd name="T68" fmla="*/ 277 w 2626"/>
              <a:gd name="T69" fmla="*/ 345 h 2295"/>
              <a:gd name="T70" fmla="*/ 263 w 2626"/>
              <a:gd name="T71" fmla="*/ 321 h 2295"/>
              <a:gd name="T72" fmla="*/ 228 w 2626"/>
              <a:gd name="T73" fmla="*/ 323 h 2295"/>
              <a:gd name="T74" fmla="*/ 212 w 2626"/>
              <a:gd name="T75" fmla="*/ 330 h 2295"/>
              <a:gd name="T76" fmla="*/ 201 w 2626"/>
              <a:gd name="T77" fmla="*/ 329 h 2295"/>
              <a:gd name="T78" fmla="*/ 186 w 2626"/>
              <a:gd name="T79" fmla="*/ 340 h 2295"/>
              <a:gd name="T80" fmla="*/ 178 w 2626"/>
              <a:gd name="T81" fmla="*/ 362 h 2295"/>
              <a:gd name="T82" fmla="*/ 152 w 2626"/>
              <a:gd name="T83" fmla="*/ 364 h 2295"/>
              <a:gd name="T84" fmla="*/ 132 w 2626"/>
              <a:gd name="T85" fmla="*/ 362 h 2295"/>
              <a:gd name="T86" fmla="*/ 109 w 2626"/>
              <a:gd name="T87" fmla="*/ 365 h 2295"/>
              <a:gd name="T88" fmla="*/ 94 w 2626"/>
              <a:gd name="T89" fmla="*/ 362 h 2295"/>
              <a:gd name="T90" fmla="*/ 71 w 2626"/>
              <a:gd name="T91" fmla="*/ 348 h 2295"/>
              <a:gd name="T92" fmla="*/ 29 w 2626"/>
              <a:gd name="T93" fmla="*/ 350 h 2295"/>
              <a:gd name="T94" fmla="*/ 18 w 2626"/>
              <a:gd name="T95" fmla="*/ 327 h 2295"/>
              <a:gd name="T96" fmla="*/ 65 w 2626"/>
              <a:gd name="T97" fmla="*/ 102 h 2295"/>
              <a:gd name="T98" fmla="*/ 169 w 2626"/>
              <a:gd name="T99" fmla="*/ 24 h 2295"/>
              <a:gd name="T100" fmla="*/ 216 w 2626"/>
              <a:gd name="T101" fmla="*/ 34 h 2295"/>
              <a:gd name="T102" fmla="*/ 268 w 2626"/>
              <a:gd name="T103" fmla="*/ 42 h 2295"/>
              <a:gd name="T104" fmla="*/ 310 w 2626"/>
              <a:gd name="T105" fmla="*/ 44 h 2295"/>
              <a:gd name="T106" fmla="*/ 322 w 2626"/>
              <a:gd name="T107" fmla="*/ 83 h 2295"/>
              <a:gd name="T108" fmla="*/ 330 w 2626"/>
              <a:gd name="T109" fmla="*/ 115 h 2295"/>
              <a:gd name="T110" fmla="*/ 344 w 2626"/>
              <a:gd name="T111" fmla="*/ 131 h 2295"/>
              <a:gd name="T112" fmla="*/ 380 w 2626"/>
              <a:gd name="T113" fmla="*/ 157 h 2295"/>
              <a:gd name="T114" fmla="*/ 409 w 2626"/>
              <a:gd name="T115" fmla="*/ 177 h 2295"/>
              <a:gd name="T116" fmla="*/ 420 w 2626"/>
              <a:gd name="T117" fmla="*/ 161 h 2295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626"/>
              <a:gd name="T178" fmla="*/ 0 h 2295"/>
              <a:gd name="T179" fmla="*/ 2626 w 2626"/>
              <a:gd name="T180" fmla="*/ 2295 h 2295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626" h="2295">
                <a:moveTo>
                  <a:pt x="1682" y="643"/>
                </a:moveTo>
                <a:lnTo>
                  <a:pt x="1881" y="1280"/>
                </a:lnTo>
                <a:lnTo>
                  <a:pt x="1885" y="1284"/>
                </a:lnTo>
                <a:lnTo>
                  <a:pt x="1885" y="1292"/>
                </a:lnTo>
                <a:lnTo>
                  <a:pt x="1881" y="1305"/>
                </a:lnTo>
                <a:lnTo>
                  <a:pt x="1885" y="1324"/>
                </a:lnTo>
                <a:lnTo>
                  <a:pt x="1897" y="1341"/>
                </a:lnTo>
                <a:lnTo>
                  <a:pt x="1912" y="1359"/>
                </a:lnTo>
                <a:lnTo>
                  <a:pt x="1935" y="1378"/>
                </a:lnTo>
                <a:lnTo>
                  <a:pt x="1972" y="1407"/>
                </a:lnTo>
                <a:lnTo>
                  <a:pt x="2002" y="1432"/>
                </a:lnTo>
                <a:lnTo>
                  <a:pt x="2010" y="1439"/>
                </a:lnTo>
                <a:lnTo>
                  <a:pt x="2014" y="1449"/>
                </a:lnTo>
                <a:lnTo>
                  <a:pt x="2018" y="1457"/>
                </a:lnTo>
                <a:lnTo>
                  <a:pt x="2025" y="1464"/>
                </a:lnTo>
                <a:lnTo>
                  <a:pt x="2041" y="1464"/>
                </a:lnTo>
                <a:lnTo>
                  <a:pt x="2048" y="1468"/>
                </a:lnTo>
                <a:lnTo>
                  <a:pt x="2071" y="1464"/>
                </a:lnTo>
                <a:lnTo>
                  <a:pt x="2096" y="1464"/>
                </a:lnTo>
                <a:lnTo>
                  <a:pt x="2119" y="1460"/>
                </a:lnTo>
                <a:lnTo>
                  <a:pt x="2142" y="1453"/>
                </a:lnTo>
                <a:lnTo>
                  <a:pt x="2169" y="1453"/>
                </a:lnTo>
                <a:lnTo>
                  <a:pt x="2181" y="1453"/>
                </a:lnTo>
                <a:lnTo>
                  <a:pt x="2192" y="1457"/>
                </a:lnTo>
                <a:lnTo>
                  <a:pt x="2206" y="1470"/>
                </a:lnTo>
                <a:lnTo>
                  <a:pt x="2225" y="1482"/>
                </a:lnTo>
                <a:lnTo>
                  <a:pt x="2236" y="1489"/>
                </a:lnTo>
                <a:lnTo>
                  <a:pt x="2248" y="1489"/>
                </a:lnTo>
                <a:lnTo>
                  <a:pt x="2283" y="1485"/>
                </a:lnTo>
                <a:lnTo>
                  <a:pt x="2298" y="1489"/>
                </a:lnTo>
                <a:lnTo>
                  <a:pt x="2306" y="1489"/>
                </a:lnTo>
                <a:lnTo>
                  <a:pt x="2309" y="1497"/>
                </a:lnTo>
                <a:lnTo>
                  <a:pt x="2325" y="1514"/>
                </a:lnTo>
                <a:lnTo>
                  <a:pt x="2331" y="1526"/>
                </a:lnTo>
                <a:lnTo>
                  <a:pt x="2338" y="1528"/>
                </a:lnTo>
                <a:lnTo>
                  <a:pt x="2342" y="1528"/>
                </a:lnTo>
                <a:lnTo>
                  <a:pt x="2361" y="1526"/>
                </a:lnTo>
                <a:lnTo>
                  <a:pt x="2377" y="1522"/>
                </a:lnTo>
                <a:lnTo>
                  <a:pt x="2388" y="1510"/>
                </a:lnTo>
                <a:lnTo>
                  <a:pt x="2407" y="1503"/>
                </a:lnTo>
                <a:lnTo>
                  <a:pt x="2411" y="1514"/>
                </a:lnTo>
                <a:lnTo>
                  <a:pt x="2415" y="1518"/>
                </a:lnTo>
                <a:lnTo>
                  <a:pt x="2423" y="1522"/>
                </a:lnTo>
                <a:lnTo>
                  <a:pt x="2438" y="1518"/>
                </a:lnTo>
                <a:lnTo>
                  <a:pt x="2450" y="1510"/>
                </a:lnTo>
                <a:lnTo>
                  <a:pt x="2459" y="1503"/>
                </a:lnTo>
                <a:lnTo>
                  <a:pt x="2467" y="1493"/>
                </a:lnTo>
                <a:lnTo>
                  <a:pt x="2490" y="1470"/>
                </a:lnTo>
                <a:lnTo>
                  <a:pt x="2497" y="1460"/>
                </a:lnTo>
                <a:lnTo>
                  <a:pt x="2513" y="1453"/>
                </a:lnTo>
                <a:lnTo>
                  <a:pt x="2532" y="1445"/>
                </a:lnTo>
                <a:lnTo>
                  <a:pt x="2555" y="1441"/>
                </a:lnTo>
                <a:lnTo>
                  <a:pt x="2607" y="1441"/>
                </a:lnTo>
                <a:lnTo>
                  <a:pt x="2603" y="1453"/>
                </a:lnTo>
                <a:lnTo>
                  <a:pt x="2599" y="1464"/>
                </a:lnTo>
                <a:lnTo>
                  <a:pt x="2607" y="1485"/>
                </a:lnTo>
                <a:lnTo>
                  <a:pt x="2611" y="1493"/>
                </a:lnTo>
                <a:lnTo>
                  <a:pt x="2615" y="1497"/>
                </a:lnTo>
                <a:lnTo>
                  <a:pt x="2622" y="1497"/>
                </a:lnTo>
                <a:lnTo>
                  <a:pt x="2626" y="1493"/>
                </a:lnTo>
                <a:lnTo>
                  <a:pt x="2592" y="1528"/>
                </a:lnTo>
                <a:lnTo>
                  <a:pt x="2551" y="1572"/>
                </a:lnTo>
                <a:lnTo>
                  <a:pt x="2528" y="1597"/>
                </a:lnTo>
                <a:lnTo>
                  <a:pt x="2513" y="1618"/>
                </a:lnTo>
                <a:lnTo>
                  <a:pt x="2497" y="1643"/>
                </a:lnTo>
                <a:lnTo>
                  <a:pt x="2494" y="1666"/>
                </a:lnTo>
                <a:lnTo>
                  <a:pt x="2486" y="1679"/>
                </a:lnTo>
                <a:lnTo>
                  <a:pt x="2478" y="1687"/>
                </a:lnTo>
                <a:lnTo>
                  <a:pt x="2451" y="1704"/>
                </a:lnTo>
                <a:lnTo>
                  <a:pt x="2438" y="1720"/>
                </a:lnTo>
                <a:lnTo>
                  <a:pt x="2426" y="1733"/>
                </a:lnTo>
                <a:lnTo>
                  <a:pt x="2407" y="1773"/>
                </a:lnTo>
                <a:lnTo>
                  <a:pt x="2396" y="1791"/>
                </a:lnTo>
                <a:lnTo>
                  <a:pt x="2384" y="1802"/>
                </a:lnTo>
                <a:lnTo>
                  <a:pt x="2365" y="1812"/>
                </a:lnTo>
                <a:lnTo>
                  <a:pt x="2342" y="1816"/>
                </a:lnTo>
                <a:lnTo>
                  <a:pt x="2290" y="1816"/>
                </a:lnTo>
                <a:lnTo>
                  <a:pt x="2259" y="1819"/>
                </a:lnTo>
                <a:lnTo>
                  <a:pt x="2221" y="1831"/>
                </a:lnTo>
                <a:lnTo>
                  <a:pt x="2185" y="1844"/>
                </a:lnTo>
                <a:lnTo>
                  <a:pt x="2150" y="1864"/>
                </a:lnTo>
                <a:lnTo>
                  <a:pt x="2116" y="1888"/>
                </a:lnTo>
                <a:lnTo>
                  <a:pt x="2089" y="1917"/>
                </a:lnTo>
                <a:lnTo>
                  <a:pt x="2079" y="1931"/>
                </a:lnTo>
                <a:lnTo>
                  <a:pt x="2071" y="1946"/>
                </a:lnTo>
                <a:lnTo>
                  <a:pt x="2068" y="1960"/>
                </a:lnTo>
                <a:lnTo>
                  <a:pt x="2068" y="1979"/>
                </a:lnTo>
                <a:lnTo>
                  <a:pt x="2064" y="1983"/>
                </a:lnTo>
                <a:lnTo>
                  <a:pt x="2060" y="1988"/>
                </a:lnTo>
                <a:lnTo>
                  <a:pt x="2056" y="1992"/>
                </a:lnTo>
                <a:lnTo>
                  <a:pt x="2056" y="1996"/>
                </a:lnTo>
                <a:lnTo>
                  <a:pt x="2056" y="2004"/>
                </a:lnTo>
                <a:lnTo>
                  <a:pt x="2060" y="2007"/>
                </a:lnTo>
                <a:lnTo>
                  <a:pt x="2075" y="2007"/>
                </a:lnTo>
                <a:lnTo>
                  <a:pt x="2096" y="2004"/>
                </a:lnTo>
                <a:lnTo>
                  <a:pt x="2112" y="2000"/>
                </a:lnTo>
                <a:lnTo>
                  <a:pt x="2146" y="1992"/>
                </a:lnTo>
                <a:lnTo>
                  <a:pt x="2158" y="2021"/>
                </a:lnTo>
                <a:lnTo>
                  <a:pt x="2173" y="2050"/>
                </a:lnTo>
                <a:lnTo>
                  <a:pt x="2146" y="2050"/>
                </a:lnTo>
                <a:lnTo>
                  <a:pt x="2119" y="2057"/>
                </a:lnTo>
                <a:lnTo>
                  <a:pt x="2089" y="2065"/>
                </a:lnTo>
                <a:lnTo>
                  <a:pt x="2064" y="2075"/>
                </a:lnTo>
                <a:lnTo>
                  <a:pt x="2037" y="2090"/>
                </a:lnTo>
                <a:lnTo>
                  <a:pt x="2018" y="2107"/>
                </a:lnTo>
                <a:lnTo>
                  <a:pt x="2006" y="2123"/>
                </a:lnTo>
                <a:lnTo>
                  <a:pt x="2002" y="2132"/>
                </a:lnTo>
                <a:lnTo>
                  <a:pt x="2002" y="2140"/>
                </a:lnTo>
                <a:lnTo>
                  <a:pt x="1924" y="2144"/>
                </a:lnTo>
                <a:lnTo>
                  <a:pt x="1904" y="2144"/>
                </a:lnTo>
                <a:lnTo>
                  <a:pt x="1885" y="2151"/>
                </a:lnTo>
                <a:lnTo>
                  <a:pt x="1874" y="2157"/>
                </a:lnTo>
                <a:lnTo>
                  <a:pt x="1862" y="2169"/>
                </a:lnTo>
                <a:lnTo>
                  <a:pt x="1843" y="2194"/>
                </a:lnTo>
                <a:lnTo>
                  <a:pt x="1826" y="2226"/>
                </a:lnTo>
                <a:lnTo>
                  <a:pt x="1818" y="2238"/>
                </a:lnTo>
                <a:lnTo>
                  <a:pt x="1806" y="2244"/>
                </a:lnTo>
                <a:lnTo>
                  <a:pt x="1787" y="2259"/>
                </a:lnTo>
                <a:lnTo>
                  <a:pt x="1768" y="2272"/>
                </a:lnTo>
                <a:lnTo>
                  <a:pt x="1760" y="2284"/>
                </a:lnTo>
                <a:lnTo>
                  <a:pt x="1753" y="2295"/>
                </a:lnTo>
                <a:lnTo>
                  <a:pt x="1726" y="2295"/>
                </a:lnTo>
                <a:lnTo>
                  <a:pt x="1701" y="2295"/>
                </a:lnTo>
                <a:lnTo>
                  <a:pt x="1693" y="2295"/>
                </a:lnTo>
                <a:lnTo>
                  <a:pt x="1689" y="2292"/>
                </a:lnTo>
                <a:lnTo>
                  <a:pt x="1682" y="2280"/>
                </a:lnTo>
                <a:lnTo>
                  <a:pt x="1682" y="2272"/>
                </a:lnTo>
                <a:lnTo>
                  <a:pt x="1682" y="2263"/>
                </a:lnTo>
                <a:lnTo>
                  <a:pt x="1686" y="2255"/>
                </a:lnTo>
                <a:lnTo>
                  <a:pt x="1701" y="2238"/>
                </a:lnTo>
                <a:lnTo>
                  <a:pt x="1730" y="2205"/>
                </a:lnTo>
                <a:lnTo>
                  <a:pt x="1737" y="2194"/>
                </a:lnTo>
                <a:lnTo>
                  <a:pt x="1741" y="2186"/>
                </a:lnTo>
                <a:lnTo>
                  <a:pt x="1741" y="2165"/>
                </a:lnTo>
                <a:lnTo>
                  <a:pt x="1741" y="2148"/>
                </a:lnTo>
                <a:lnTo>
                  <a:pt x="1745" y="2127"/>
                </a:lnTo>
                <a:lnTo>
                  <a:pt x="1753" y="2115"/>
                </a:lnTo>
                <a:lnTo>
                  <a:pt x="1760" y="2103"/>
                </a:lnTo>
                <a:lnTo>
                  <a:pt x="1780" y="2082"/>
                </a:lnTo>
                <a:lnTo>
                  <a:pt x="1787" y="2071"/>
                </a:lnTo>
                <a:lnTo>
                  <a:pt x="1795" y="2057"/>
                </a:lnTo>
                <a:lnTo>
                  <a:pt x="1799" y="2042"/>
                </a:lnTo>
                <a:lnTo>
                  <a:pt x="1803" y="2025"/>
                </a:lnTo>
                <a:lnTo>
                  <a:pt x="1799" y="2004"/>
                </a:lnTo>
                <a:lnTo>
                  <a:pt x="1791" y="1975"/>
                </a:lnTo>
                <a:lnTo>
                  <a:pt x="1776" y="1935"/>
                </a:lnTo>
                <a:lnTo>
                  <a:pt x="1776" y="1931"/>
                </a:lnTo>
                <a:lnTo>
                  <a:pt x="1776" y="1925"/>
                </a:lnTo>
                <a:lnTo>
                  <a:pt x="1780" y="1896"/>
                </a:lnTo>
                <a:lnTo>
                  <a:pt x="1791" y="1869"/>
                </a:lnTo>
                <a:lnTo>
                  <a:pt x="1799" y="1844"/>
                </a:lnTo>
                <a:lnTo>
                  <a:pt x="1803" y="1816"/>
                </a:lnTo>
                <a:lnTo>
                  <a:pt x="1799" y="1806"/>
                </a:lnTo>
                <a:lnTo>
                  <a:pt x="1795" y="1794"/>
                </a:lnTo>
                <a:lnTo>
                  <a:pt x="1780" y="1777"/>
                </a:lnTo>
                <a:lnTo>
                  <a:pt x="1768" y="1762"/>
                </a:lnTo>
                <a:lnTo>
                  <a:pt x="1764" y="1756"/>
                </a:lnTo>
                <a:lnTo>
                  <a:pt x="1764" y="1748"/>
                </a:lnTo>
                <a:lnTo>
                  <a:pt x="1745" y="1745"/>
                </a:lnTo>
                <a:lnTo>
                  <a:pt x="1741" y="1741"/>
                </a:lnTo>
                <a:lnTo>
                  <a:pt x="1737" y="1737"/>
                </a:lnTo>
                <a:lnTo>
                  <a:pt x="1737" y="1733"/>
                </a:lnTo>
                <a:lnTo>
                  <a:pt x="1741" y="1729"/>
                </a:lnTo>
                <a:lnTo>
                  <a:pt x="1749" y="1727"/>
                </a:lnTo>
                <a:lnTo>
                  <a:pt x="1760" y="1723"/>
                </a:lnTo>
                <a:lnTo>
                  <a:pt x="1768" y="1723"/>
                </a:lnTo>
                <a:lnTo>
                  <a:pt x="1780" y="1733"/>
                </a:lnTo>
                <a:lnTo>
                  <a:pt x="1791" y="1745"/>
                </a:lnTo>
                <a:lnTo>
                  <a:pt x="1818" y="1762"/>
                </a:lnTo>
                <a:lnTo>
                  <a:pt x="1830" y="1769"/>
                </a:lnTo>
                <a:lnTo>
                  <a:pt x="1839" y="1781"/>
                </a:lnTo>
                <a:lnTo>
                  <a:pt x="1847" y="1791"/>
                </a:lnTo>
                <a:lnTo>
                  <a:pt x="1847" y="1802"/>
                </a:lnTo>
                <a:lnTo>
                  <a:pt x="1854" y="1802"/>
                </a:lnTo>
                <a:lnTo>
                  <a:pt x="1862" y="1798"/>
                </a:lnTo>
                <a:lnTo>
                  <a:pt x="1866" y="1794"/>
                </a:lnTo>
                <a:lnTo>
                  <a:pt x="1874" y="1791"/>
                </a:lnTo>
                <a:lnTo>
                  <a:pt x="1904" y="1810"/>
                </a:lnTo>
                <a:lnTo>
                  <a:pt x="1920" y="1812"/>
                </a:lnTo>
                <a:lnTo>
                  <a:pt x="1939" y="1816"/>
                </a:lnTo>
                <a:lnTo>
                  <a:pt x="1950" y="1816"/>
                </a:lnTo>
                <a:lnTo>
                  <a:pt x="1960" y="1812"/>
                </a:lnTo>
                <a:lnTo>
                  <a:pt x="1968" y="1810"/>
                </a:lnTo>
                <a:lnTo>
                  <a:pt x="1968" y="1802"/>
                </a:lnTo>
                <a:lnTo>
                  <a:pt x="1968" y="1791"/>
                </a:lnTo>
                <a:lnTo>
                  <a:pt x="1964" y="1785"/>
                </a:lnTo>
                <a:lnTo>
                  <a:pt x="1954" y="1773"/>
                </a:lnTo>
                <a:lnTo>
                  <a:pt x="1939" y="1762"/>
                </a:lnTo>
                <a:lnTo>
                  <a:pt x="1927" y="1752"/>
                </a:lnTo>
                <a:lnTo>
                  <a:pt x="1950" y="1748"/>
                </a:lnTo>
                <a:lnTo>
                  <a:pt x="1958" y="1741"/>
                </a:lnTo>
                <a:lnTo>
                  <a:pt x="1958" y="1733"/>
                </a:lnTo>
                <a:lnTo>
                  <a:pt x="1958" y="1723"/>
                </a:lnTo>
                <a:lnTo>
                  <a:pt x="1947" y="1712"/>
                </a:lnTo>
                <a:lnTo>
                  <a:pt x="1931" y="1700"/>
                </a:lnTo>
                <a:lnTo>
                  <a:pt x="1916" y="1687"/>
                </a:lnTo>
                <a:lnTo>
                  <a:pt x="1897" y="1672"/>
                </a:lnTo>
                <a:lnTo>
                  <a:pt x="1866" y="1637"/>
                </a:lnTo>
                <a:lnTo>
                  <a:pt x="1847" y="1622"/>
                </a:lnTo>
                <a:lnTo>
                  <a:pt x="1830" y="1612"/>
                </a:lnTo>
                <a:lnTo>
                  <a:pt x="1806" y="1601"/>
                </a:lnTo>
                <a:lnTo>
                  <a:pt x="1783" y="1601"/>
                </a:lnTo>
                <a:lnTo>
                  <a:pt x="1605" y="1601"/>
                </a:lnTo>
                <a:lnTo>
                  <a:pt x="1601" y="1604"/>
                </a:lnTo>
                <a:lnTo>
                  <a:pt x="1590" y="1608"/>
                </a:lnTo>
                <a:lnTo>
                  <a:pt x="1568" y="1612"/>
                </a:lnTo>
                <a:lnTo>
                  <a:pt x="1522" y="1618"/>
                </a:lnTo>
                <a:lnTo>
                  <a:pt x="1382" y="1618"/>
                </a:lnTo>
                <a:lnTo>
                  <a:pt x="1382" y="1585"/>
                </a:lnTo>
                <a:lnTo>
                  <a:pt x="1367" y="1593"/>
                </a:lnTo>
                <a:lnTo>
                  <a:pt x="1355" y="1601"/>
                </a:lnTo>
                <a:lnTo>
                  <a:pt x="1340" y="1608"/>
                </a:lnTo>
                <a:lnTo>
                  <a:pt x="1327" y="1608"/>
                </a:lnTo>
                <a:lnTo>
                  <a:pt x="1327" y="1604"/>
                </a:lnTo>
                <a:lnTo>
                  <a:pt x="1327" y="1597"/>
                </a:lnTo>
                <a:lnTo>
                  <a:pt x="1323" y="1579"/>
                </a:lnTo>
                <a:lnTo>
                  <a:pt x="1327" y="1564"/>
                </a:lnTo>
                <a:lnTo>
                  <a:pt x="1327" y="1535"/>
                </a:lnTo>
                <a:lnTo>
                  <a:pt x="1315" y="1535"/>
                </a:lnTo>
                <a:lnTo>
                  <a:pt x="1304" y="1531"/>
                </a:lnTo>
                <a:lnTo>
                  <a:pt x="1296" y="1526"/>
                </a:lnTo>
                <a:lnTo>
                  <a:pt x="1292" y="1522"/>
                </a:lnTo>
                <a:lnTo>
                  <a:pt x="1292" y="1514"/>
                </a:lnTo>
                <a:lnTo>
                  <a:pt x="1292" y="1503"/>
                </a:lnTo>
                <a:lnTo>
                  <a:pt x="1296" y="1493"/>
                </a:lnTo>
                <a:lnTo>
                  <a:pt x="1300" y="1485"/>
                </a:lnTo>
                <a:lnTo>
                  <a:pt x="1300" y="1478"/>
                </a:lnTo>
                <a:lnTo>
                  <a:pt x="1300" y="1470"/>
                </a:lnTo>
                <a:lnTo>
                  <a:pt x="1296" y="1464"/>
                </a:lnTo>
                <a:lnTo>
                  <a:pt x="1277" y="1453"/>
                </a:lnTo>
                <a:lnTo>
                  <a:pt x="1250" y="1439"/>
                </a:lnTo>
                <a:lnTo>
                  <a:pt x="1242" y="1432"/>
                </a:lnTo>
                <a:lnTo>
                  <a:pt x="1242" y="1420"/>
                </a:lnTo>
                <a:lnTo>
                  <a:pt x="1238" y="1399"/>
                </a:lnTo>
                <a:lnTo>
                  <a:pt x="1238" y="1388"/>
                </a:lnTo>
                <a:lnTo>
                  <a:pt x="1234" y="1382"/>
                </a:lnTo>
                <a:lnTo>
                  <a:pt x="1227" y="1374"/>
                </a:lnTo>
                <a:lnTo>
                  <a:pt x="1219" y="1374"/>
                </a:lnTo>
                <a:lnTo>
                  <a:pt x="1210" y="1378"/>
                </a:lnTo>
                <a:lnTo>
                  <a:pt x="1198" y="1382"/>
                </a:lnTo>
                <a:lnTo>
                  <a:pt x="1187" y="1388"/>
                </a:lnTo>
                <a:lnTo>
                  <a:pt x="1175" y="1391"/>
                </a:lnTo>
                <a:lnTo>
                  <a:pt x="1137" y="1388"/>
                </a:lnTo>
                <a:lnTo>
                  <a:pt x="1121" y="1384"/>
                </a:lnTo>
                <a:lnTo>
                  <a:pt x="1106" y="1378"/>
                </a:lnTo>
                <a:lnTo>
                  <a:pt x="1094" y="1370"/>
                </a:lnTo>
                <a:lnTo>
                  <a:pt x="1089" y="1363"/>
                </a:lnTo>
                <a:lnTo>
                  <a:pt x="1073" y="1341"/>
                </a:lnTo>
                <a:lnTo>
                  <a:pt x="1066" y="1324"/>
                </a:lnTo>
                <a:lnTo>
                  <a:pt x="1058" y="1301"/>
                </a:lnTo>
                <a:lnTo>
                  <a:pt x="1054" y="1292"/>
                </a:lnTo>
                <a:lnTo>
                  <a:pt x="1050" y="1284"/>
                </a:lnTo>
                <a:lnTo>
                  <a:pt x="1043" y="1276"/>
                </a:lnTo>
                <a:lnTo>
                  <a:pt x="1031" y="1276"/>
                </a:lnTo>
                <a:lnTo>
                  <a:pt x="1004" y="1276"/>
                </a:lnTo>
                <a:lnTo>
                  <a:pt x="977" y="1284"/>
                </a:lnTo>
                <a:lnTo>
                  <a:pt x="956" y="1292"/>
                </a:lnTo>
                <a:lnTo>
                  <a:pt x="929" y="1295"/>
                </a:lnTo>
                <a:lnTo>
                  <a:pt x="914" y="1292"/>
                </a:lnTo>
                <a:lnTo>
                  <a:pt x="902" y="1288"/>
                </a:lnTo>
                <a:lnTo>
                  <a:pt x="879" y="1276"/>
                </a:lnTo>
                <a:lnTo>
                  <a:pt x="843" y="1276"/>
                </a:lnTo>
                <a:lnTo>
                  <a:pt x="843" y="1297"/>
                </a:lnTo>
                <a:lnTo>
                  <a:pt x="847" y="1305"/>
                </a:lnTo>
                <a:lnTo>
                  <a:pt x="849" y="1316"/>
                </a:lnTo>
                <a:lnTo>
                  <a:pt x="849" y="1320"/>
                </a:lnTo>
                <a:lnTo>
                  <a:pt x="847" y="1326"/>
                </a:lnTo>
                <a:lnTo>
                  <a:pt x="839" y="1330"/>
                </a:lnTo>
                <a:lnTo>
                  <a:pt x="831" y="1326"/>
                </a:lnTo>
                <a:lnTo>
                  <a:pt x="824" y="1324"/>
                </a:lnTo>
                <a:lnTo>
                  <a:pt x="816" y="1316"/>
                </a:lnTo>
                <a:lnTo>
                  <a:pt x="808" y="1316"/>
                </a:lnTo>
                <a:lnTo>
                  <a:pt x="805" y="1316"/>
                </a:lnTo>
                <a:lnTo>
                  <a:pt x="801" y="1320"/>
                </a:lnTo>
                <a:lnTo>
                  <a:pt x="801" y="1330"/>
                </a:lnTo>
                <a:lnTo>
                  <a:pt x="805" y="1341"/>
                </a:lnTo>
                <a:lnTo>
                  <a:pt x="808" y="1349"/>
                </a:lnTo>
                <a:lnTo>
                  <a:pt x="785" y="1353"/>
                </a:lnTo>
                <a:lnTo>
                  <a:pt x="758" y="1355"/>
                </a:lnTo>
                <a:lnTo>
                  <a:pt x="747" y="1359"/>
                </a:lnTo>
                <a:lnTo>
                  <a:pt x="739" y="1366"/>
                </a:lnTo>
                <a:lnTo>
                  <a:pt x="732" y="1374"/>
                </a:lnTo>
                <a:lnTo>
                  <a:pt x="732" y="1382"/>
                </a:lnTo>
                <a:lnTo>
                  <a:pt x="732" y="1403"/>
                </a:lnTo>
                <a:lnTo>
                  <a:pt x="728" y="1420"/>
                </a:lnTo>
                <a:lnTo>
                  <a:pt x="722" y="1439"/>
                </a:lnTo>
                <a:lnTo>
                  <a:pt x="714" y="1445"/>
                </a:lnTo>
                <a:lnTo>
                  <a:pt x="707" y="1453"/>
                </a:lnTo>
                <a:lnTo>
                  <a:pt x="691" y="1457"/>
                </a:lnTo>
                <a:lnTo>
                  <a:pt x="676" y="1460"/>
                </a:lnTo>
                <a:lnTo>
                  <a:pt x="657" y="1457"/>
                </a:lnTo>
                <a:lnTo>
                  <a:pt x="641" y="1453"/>
                </a:lnTo>
                <a:lnTo>
                  <a:pt x="626" y="1453"/>
                </a:lnTo>
                <a:lnTo>
                  <a:pt x="607" y="1453"/>
                </a:lnTo>
                <a:lnTo>
                  <a:pt x="611" y="1453"/>
                </a:lnTo>
                <a:lnTo>
                  <a:pt x="578" y="1449"/>
                </a:lnTo>
                <a:lnTo>
                  <a:pt x="559" y="1449"/>
                </a:lnTo>
                <a:lnTo>
                  <a:pt x="555" y="1445"/>
                </a:lnTo>
                <a:lnTo>
                  <a:pt x="551" y="1439"/>
                </a:lnTo>
                <a:lnTo>
                  <a:pt x="540" y="1439"/>
                </a:lnTo>
                <a:lnTo>
                  <a:pt x="528" y="1445"/>
                </a:lnTo>
                <a:lnTo>
                  <a:pt x="513" y="1457"/>
                </a:lnTo>
                <a:lnTo>
                  <a:pt x="497" y="1468"/>
                </a:lnTo>
                <a:lnTo>
                  <a:pt x="486" y="1474"/>
                </a:lnTo>
                <a:lnTo>
                  <a:pt x="476" y="1474"/>
                </a:lnTo>
                <a:lnTo>
                  <a:pt x="465" y="1470"/>
                </a:lnTo>
                <a:lnTo>
                  <a:pt x="457" y="1468"/>
                </a:lnTo>
                <a:lnTo>
                  <a:pt x="438" y="1457"/>
                </a:lnTo>
                <a:lnTo>
                  <a:pt x="423" y="1441"/>
                </a:lnTo>
                <a:lnTo>
                  <a:pt x="411" y="1439"/>
                </a:lnTo>
                <a:lnTo>
                  <a:pt x="400" y="1439"/>
                </a:lnTo>
                <a:lnTo>
                  <a:pt x="392" y="1439"/>
                </a:lnTo>
                <a:lnTo>
                  <a:pt x="388" y="1441"/>
                </a:lnTo>
                <a:lnTo>
                  <a:pt x="384" y="1445"/>
                </a:lnTo>
                <a:lnTo>
                  <a:pt x="376" y="1445"/>
                </a:lnTo>
                <a:lnTo>
                  <a:pt x="365" y="1441"/>
                </a:lnTo>
                <a:lnTo>
                  <a:pt x="357" y="1439"/>
                </a:lnTo>
                <a:lnTo>
                  <a:pt x="334" y="1416"/>
                </a:lnTo>
                <a:lnTo>
                  <a:pt x="311" y="1399"/>
                </a:lnTo>
                <a:lnTo>
                  <a:pt x="304" y="1391"/>
                </a:lnTo>
                <a:lnTo>
                  <a:pt x="292" y="1388"/>
                </a:lnTo>
                <a:lnTo>
                  <a:pt x="281" y="1391"/>
                </a:lnTo>
                <a:lnTo>
                  <a:pt x="269" y="1395"/>
                </a:lnTo>
                <a:lnTo>
                  <a:pt x="257" y="1407"/>
                </a:lnTo>
                <a:lnTo>
                  <a:pt x="250" y="1416"/>
                </a:lnTo>
                <a:lnTo>
                  <a:pt x="242" y="1420"/>
                </a:lnTo>
                <a:lnTo>
                  <a:pt x="231" y="1420"/>
                </a:lnTo>
                <a:lnTo>
                  <a:pt x="163" y="1411"/>
                </a:lnTo>
                <a:lnTo>
                  <a:pt x="117" y="1399"/>
                </a:lnTo>
                <a:lnTo>
                  <a:pt x="104" y="1391"/>
                </a:lnTo>
                <a:lnTo>
                  <a:pt x="100" y="1388"/>
                </a:lnTo>
                <a:lnTo>
                  <a:pt x="92" y="1378"/>
                </a:lnTo>
                <a:lnTo>
                  <a:pt x="89" y="1363"/>
                </a:lnTo>
                <a:lnTo>
                  <a:pt x="81" y="1330"/>
                </a:lnTo>
                <a:lnTo>
                  <a:pt x="77" y="1316"/>
                </a:lnTo>
                <a:lnTo>
                  <a:pt x="69" y="1305"/>
                </a:lnTo>
                <a:lnTo>
                  <a:pt x="54" y="1295"/>
                </a:lnTo>
                <a:lnTo>
                  <a:pt x="35" y="1292"/>
                </a:lnTo>
                <a:lnTo>
                  <a:pt x="0" y="729"/>
                </a:lnTo>
                <a:lnTo>
                  <a:pt x="50" y="668"/>
                </a:lnTo>
                <a:lnTo>
                  <a:pt x="108" y="604"/>
                </a:lnTo>
                <a:lnTo>
                  <a:pt x="175" y="514"/>
                </a:lnTo>
                <a:lnTo>
                  <a:pt x="257" y="407"/>
                </a:lnTo>
                <a:lnTo>
                  <a:pt x="348" y="280"/>
                </a:lnTo>
                <a:lnTo>
                  <a:pt x="438" y="148"/>
                </a:lnTo>
                <a:lnTo>
                  <a:pt x="524" y="0"/>
                </a:lnTo>
                <a:lnTo>
                  <a:pt x="626" y="50"/>
                </a:lnTo>
                <a:lnTo>
                  <a:pt x="645" y="65"/>
                </a:lnTo>
                <a:lnTo>
                  <a:pt x="661" y="78"/>
                </a:lnTo>
                <a:lnTo>
                  <a:pt x="676" y="96"/>
                </a:lnTo>
                <a:lnTo>
                  <a:pt x="691" y="111"/>
                </a:lnTo>
                <a:lnTo>
                  <a:pt x="703" y="115"/>
                </a:lnTo>
                <a:lnTo>
                  <a:pt x="714" y="123"/>
                </a:lnTo>
                <a:lnTo>
                  <a:pt x="747" y="125"/>
                </a:lnTo>
                <a:lnTo>
                  <a:pt x="781" y="132"/>
                </a:lnTo>
                <a:lnTo>
                  <a:pt x="805" y="136"/>
                </a:lnTo>
                <a:lnTo>
                  <a:pt x="864" y="136"/>
                </a:lnTo>
                <a:lnTo>
                  <a:pt x="895" y="153"/>
                </a:lnTo>
                <a:lnTo>
                  <a:pt x="918" y="169"/>
                </a:lnTo>
                <a:lnTo>
                  <a:pt x="948" y="176"/>
                </a:lnTo>
                <a:lnTo>
                  <a:pt x="981" y="180"/>
                </a:lnTo>
                <a:lnTo>
                  <a:pt x="1004" y="180"/>
                </a:lnTo>
                <a:lnTo>
                  <a:pt x="1027" y="176"/>
                </a:lnTo>
                <a:lnTo>
                  <a:pt x="1069" y="165"/>
                </a:lnTo>
                <a:lnTo>
                  <a:pt x="1114" y="153"/>
                </a:lnTo>
                <a:lnTo>
                  <a:pt x="1137" y="151"/>
                </a:lnTo>
                <a:lnTo>
                  <a:pt x="1160" y="151"/>
                </a:lnTo>
                <a:lnTo>
                  <a:pt x="1190" y="151"/>
                </a:lnTo>
                <a:lnTo>
                  <a:pt x="1219" y="157"/>
                </a:lnTo>
                <a:lnTo>
                  <a:pt x="1231" y="165"/>
                </a:lnTo>
                <a:lnTo>
                  <a:pt x="1238" y="173"/>
                </a:lnTo>
                <a:lnTo>
                  <a:pt x="1246" y="182"/>
                </a:lnTo>
                <a:lnTo>
                  <a:pt x="1250" y="197"/>
                </a:lnTo>
                <a:lnTo>
                  <a:pt x="1250" y="234"/>
                </a:lnTo>
                <a:lnTo>
                  <a:pt x="1254" y="259"/>
                </a:lnTo>
                <a:lnTo>
                  <a:pt x="1261" y="284"/>
                </a:lnTo>
                <a:lnTo>
                  <a:pt x="1273" y="305"/>
                </a:lnTo>
                <a:lnTo>
                  <a:pt x="1288" y="330"/>
                </a:lnTo>
                <a:lnTo>
                  <a:pt x="1304" y="353"/>
                </a:lnTo>
                <a:lnTo>
                  <a:pt x="1319" y="378"/>
                </a:lnTo>
                <a:lnTo>
                  <a:pt x="1327" y="403"/>
                </a:lnTo>
                <a:lnTo>
                  <a:pt x="1330" y="432"/>
                </a:lnTo>
                <a:lnTo>
                  <a:pt x="1327" y="441"/>
                </a:lnTo>
                <a:lnTo>
                  <a:pt x="1327" y="453"/>
                </a:lnTo>
                <a:lnTo>
                  <a:pt x="1323" y="460"/>
                </a:lnTo>
                <a:lnTo>
                  <a:pt x="1319" y="470"/>
                </a:lnTo>
                <a:lnTo>
                  <a:pt x="1323" y="485"/>
                </a:lnTo>
                <a:lnTo>
                  <a:pt x="1327" y="493"/>
                </a:lnTo>
                <a:lnTo>
                  <a:pt x="1334" y="503"/>
                </a:lnTo>
                <a:lnTo>
                  <a:pt x="1340" y="506"/>
                </a:lnTo>
                <a:lnTo>
                  <a:pt x="1359" y="518"/>
                </a:lnTo>
                <a:lnTo>
                  <a:pt x="1378" y="524"/>
                </a:lnTo>
                <a:lnTo>
                  <a:pt x="1398" y="539"/>
                </a:lnTo>
                <a:lnTo>
                  <a:pt x="1413" y="551"/>
                </a:lnTo>
                <a:lnTo>
                  <a:pt x="1436" y="576"/>
                </a:lnTo>
                <a:lnTo>
                  <a:pt x="1463" y="601"/>
                </a:lnTo>
                <a:lnTo>
                  <a:pt x="1476" y="610"/>
                </a:lnTo>
                <a:lnTo>
                  <a:pt x="1499" y="622"/>
                </a:lnTo>
                <a:lnTo>
                  <a:pt x="1522" y="625"/>
                </a:lnTo>
                <a:lnTo>
                  <a:pt x="1542" y="639"/>
                </a:lnTo>
                <a:lnTo>
                  <a:pt x="1557" y="654"/>
                </a:lnTo>
                <a:lnTo>
                  <a:pt x="1568" y="668"/>
                </a:lnTo>
                <a:lnTo>
                  <a:pt x="1584" y="683"/>
                </a:lnTo>
                <a:lnTo>
                  <a:pt x="1597" y="697"/>
                </a:lnTo>
                <a:lnTo>
                  <a:pt x="1616" y="704"/>
                </a:lnTo>
                <a:lnTo>
                  <a:pt x="1636" y="708"/>
                </a:lnTo>
                <a:lnTo>
                  <a:pt x="1659" y="708"/>
                </a:lnTo>
                <a:lnTo>
                  <a:pt x="1670" y="700"/>
                </a:lnTo>
                <a:lnTo>
                  <a:pt x="1674" y="691"/>
                </a:lnTo>
                <a:lnTo>
                  <a:pt x="1678" y="675"/>
                </a:lnTo>
                <a:lnTo>
                  <a:pt x="1678" y="666"/>
                </a:lnTo>
                <a:lnTo>
                  <a:pt x="1678" y="650"/>
                </a:lnTo>
                <a:lnTo>
                  <a:pt x="1682" y="643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25" name="Freeform 469"/>
          <p:cNvSpPr>
            <a:spLocks/>
          </p:cNvSpPr>
          <p:nvPr/>
        </p:nvSpPr>
        <p:spPr bwMode="gray">
          <a:xfrm>
            <a:off x="6178704" y="4211443"/>
            <a:ext cx="63243" cy="28792"/>
          </a:xfrm>
          <a:custGeom>
            <a:avLst/>
            <a:gdLst>
              <a:gd name="T0" fmla="*/ 0 w 163"/>
              <a:gd name="T1" fmla="*/ 12 h 75"/>
              <a:gd name="T2" fmla="*/ 1 w 163"/>
              <a:gd name="T3" fmla="*/ 13 h 75"/>
              <a:gd name="T4" fmla="*/ 5 w 163"/>
              <a:gd name="T5" fmla="*/ 15 h 75"/>
              <a:gd name="T6" fmla="*/ 14 w 163"/>
              <a:gd name="T7" fmla="*/ 16 h 75"/>
              <a:gd name="T8" fmla="*/ 25 w 163"/>
              <a:gd name="T9" fmla="*/ 18 h 75"/>
              <a:gd name="T10" fmla="*/ 32 w 163"/>
              <a:gd name="T11" fmla="*/ 18 h 75"/>
              <a:gd name="T12" fmla="*/ 37 w 163"/>
              <a:gd name="T13" fmla="*/ 18 h 75"/>
              <a:gd name="T14" fmla="*/ 41 w 163"/>
              <a:gd name="T15" fmla="*/ 18 h 75"/>
              <a:gd name="T16" fmla="*/ 40 w 163"/>
              <a:gd name="T17" fmla="*/ 16 h 75"/>
              <a:gd name="T18" fmla="*/ 39 w 163"/>
              <a:gd name="T19" fmla="*/ 12 h 75"/>
              <a:gd name="T20" fmla="*/ 34 w 163"/>
              <a:gd name="T21" fmla="*/ 6 h 75"/>
              <a:gd name="T22" fmla="*/ 32 w 163"/>
              <a:gd name="T23" fmla="*/ 4 h 75"/>
              <a:gd name="T24" fmla="*/ 29 w 163"/>
              <a:gd name="T25" fmla="*/ 1 h 75"/>
              <a:gd name="T26" fmla="*/ 25 w 163"/>
              <a:gd name="T27" fmla="*/ 1 h 75"/>
              <a:gd name="T28" fmla="*/ 21 w 163"/>
              <a:gd name="T29" fmla="*/ 0 h 75"/>
              <a:gd name="T30" fmla="*/ 17 w 163"/>
              <a:gd name="T31" fmla="*/ 1 h 75"/>
              <a:gd name="T32" fmla="*/ 9 w 163"/>
              <a:gd name="T33" fmla="*/ 4 h 75"/>
              <a:gd name="T34" fmla="*/ 3 w 163"/>
              <a:gd name="T35" fmla="*/ 8 h 75"/>
              <a:gd name="T36" fmla="*/ 1 w 163"/>
              <a:gd name="T37" fmla="*/ 9 h 75"/>
              <a:gd name="T38" fmla="*/ 0 w 163"/>
              <a:gd name="T39" fmla="*/ 12 h 75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63"/>
              <a:gd name="T61" fmla="*/ 0 h 75"/>
              <a:gd name="T62" fmla="*/ 163 w 163"/>
              <a:gd name="T63" fmla="*/ 75 h 75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63" h="75">
                <a:moveTo>
                  <a:pt x="0" y="50"/>
                </a:moveTo>
                <a:lnTo>
                  <a:pt x="4" y="54"/>
                </a:lnTo>
                <a:lnTo>
                  <a:pt x="19" y="61"/>
                </a:lnTo>
                <a:lnTo>
                  <a:pt x="54" y="67"/>
                </a:lnTo>
                <a:lnTo>
                  <a:pt x="98" y="75"/>
                </a:lnTo>
                <a:lnTo>
                  <a:pt x="125" y="75"/>
                </a:lnTo>
                <a:lnTo>
                  <a:pt x="148" y="75"/>
                </a:lnTo>
                <a:lnTo>
                  <a:pt x="163" y="75"/>
                </a:lnTo>
                <a:lnTo>
                  <a:pt x="159" y="65"/>
                </a:lnTo>
                <a:lnTo>
                  <a:pt x="155" y="50"/>
                </a:lnTo>
                <a:lnTo>
                  <a:pt x="136" y="25"/>
                </a:lnTo>
                <a:lnTo>
                  <a:pt x="125" y="17"/>
                </a:lnTo>
                <a:lnTo>
                  <a:pt x="113" y="6"/>
                </a:lnTo>
                <a:lnTo>
                  <a:pt x="98" y="4"/>
                </a:lnTo>
                <a:lnTo>
                  <a:pt x="82" y="0"/>
                </a:lnTo>
                <a:lnTo>
                  <a:pt x="65" y="4"/>
                </a:lnTo>
                <a:lnTo>
                  <a:pt x="34" y="17"/>
                </a:lnTo>
                <a:lnTo>
                  <a:pt x="11" y="32"/>
                </a:lnTo>
                <a:lnTo>
                  <a:pt x="4" y="38"/>
                </a:lnTo>
                <a:lnTo>
                  <a:pt x="0" y="50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26" name="Freeform 471"/>
          <p:cNvSpPr>
            <a:spLocks/>
          </p:cNvSpPr>
          <p:nvPr/>
        </p:nvSpPr>
        <p:spPr bwMode="gray">
          <a:xfrm>
            <a:off x="6127801" y="3541463"/>
            <a:ext cx="1069716" cy="1098734"/>
          </a:xfrm>
          <a:custGeom>
            <a:avLst/>
            <a:gdLst>
              <a:gd name="T0" fmla="*/ 303 w 2774"/>
              <a:gd name="T1" fmla="*/ 52 h 2824"/>
              <a:gd name="T2" fmla="*/ 295 w 2774"/>
              <a:gd name="T3" fmla="*/ 88 h 2824"/>
              <a:gd name="T4" fmla="*/ 267 w 2774"/>
              <a:gd name="T5" fmla="*/ 107 h 2824"/>
              <a:gd name="T6" fmla="*/ 236 w 2774"/>
              <a:gd name="T7" fmla="*/ 96 h 2824"/>
              <a:gd name="T8" fmla="*/ 216 w 2774"/>
              <a:gd name="T9" fmla="*/ 90 h 2824"/>
              <a:gd name="T10" fmla="*/ 203 w 2774"/>
              <a:gd name="T11" fmla="*/ 60 h 2824"/>
              <a:gd name="T12" fmla="*/ 192 w 2774"/>
              <a:gd name="T13" fmla="*/ 28 h 2824"/>
              <a:gd name="T14" fmla="*/ 161 w 2774"/>
              <a:gd name="T15" fmla="*/ 38 h 2824"/>
              <a:gd name="T16" fmla="*/ 92 w 2774"/>
              <a:gd name="T17" fmla="*/ 14 h 2824"/>
              <a:gd name="T18" fmla="*/ 62 w 2774"/>
              <a:gd name="T19" fmla="*/ 27 h 2824"/>
              <a:gd name="T20" fmla="*/ 1 w 2774"/>
              <a:gd name="T21" fmla="*/ 43 h 2824"/>
              <a:gd name="T22" fmla="*/ 21 w 2774"/>
              <a:gd name="T23" fmla="*/ 77 h 2824"/>
              <a:gd name="T24" fmla="*/ 21 w 2774"/>
              <a:gd name="T25" fmla="*/ 105 h 2824"/>
              <a:gd name="T26" fmla="*/ 37 w 2774"/>
              <a:gd name="T27" fmla="*/ 117 h 2824"/>
              <a:gd name="T28" fmla="*/ 46 w 2774"/>
              <a:gd name="T29" fmla="*/ 150 h 2824"/>
              <a:gd name="T30" fmla="*/ 38 w 2774"/>
              <a:gd name="T31" fmla="*/ 185 h 2824"/>
              <a:gd name="T32" fmla="*/ 89 w 2774"/>
              <a:gd name="T33" fmla="*/ 215 h 2824"/>
              <a:gd name="T34" fmla="*/ 117 w 2774"/>
              <a:gd name="T35" fmla="*/ 298 h 2824"/>
              <a:gd name="T36" fmla="*/ 74 w 2774"/>
              <a:gd name="T37" fmla="*/ 357 h 2824"/>
              <a:gd name="T38" fmla="*/ 109 w 2774"/>
              <a:gd name="T39" fmla="*/ 413 h 2824"/>
              <a:gd name="T40" fmla="*/ 133 w 2774"/>
              <a:gd name="T41" fmla="*/ 464 h 2824"/>
              <a:gd name="T42" fmla="*/ 117 w 2774"/>
              <a:gd name="T43" fmla="*/ 484 h 2824"/>
              <a:gd name="T44" fmla="*/ 197 w 2774"/>
              <a:gd name="T45" fmla="*/ 682 h 2824"/>
              <a:gd name="T46" fmla="*/ 232 w 2774"/>
              <a:gd name="T47" fmla="*/ 687 h 2824"/>
              <a:gd name="T48" fmla="*/ 274 w 2774"/>
              <a:gd name="T49" fmla="*/ 696 h 2824"/>
              <a:gd name="T50" fmla="*/ 300 w 2774"/>
              <a:gd name="T51" fmla="*/ 702 h 2824"/>
              <a:gd name="T52" fmla="*/ 330 w 2774"/>
              <a:gd name="T53" fmla="*/ 686 h 2824"/>
              <a:gd name="T54" fmla="*/ 360 w 2774"/>
              <a:gd name="T55" fmla="*/ 685 h 2824"/>
              <a:gd name="T56" fmla="*/ 396 w 2774"/>
              <a:gd name="T57" fmla="*/ 619 h 2824"/>
              <a:gd name="T58" fmla="*/ 436 w 2774"/>
              <a:gd name="T59" fmla="*/ 543 h 2824"/>
              <a:gd name="T60" fmla="*/ 452 w 2774"/>
              <a:gd name="T61" fmla="*/ 477 h 2824"/>
              <a:gd name="T62" fmla="*/ 484 w 2774"/>
              <a:gd name="T63" fmla="*/ 410 h 2824"/>
              <a:gd name="T64" fmla="*/ 557 w 2774"/>
              <a:gd name="T65" fmla="*/ 363 h 2824"/>
              <a:gd name="T66" fmla="*/ 639 w 2774"/>
              <a:gd name="T67" fmla="*/ 324 h 2824"/>
              <a:gd name="T68" fmla="*/ 665 w 2774"/>
              <a:gd name="T69" fmla="*/ 244 h 2824"/>
              <a:gd name="T70" fmla="*/ 505 w 2774"/>
              <a:gd name="T71" fmla="*/ 291 h 2824"/>
              <a:gd name="T72" fmla="*/ 505 w 2774"/>
              <a:gd name="T73" fmla="*/ 273 h 2824"/>
              <a:gd name="T74" fmla="*/ 487 w 2774"/>
              <a:gd name="T75" fmla="*/ 286 h 2824"/>
              <a:gd name="T76" fmla="*/ 502 w 2774"/>
              <a:gd name="T77" fmla="*/ 315 h 2824"/>
              <a:gd name="T78" fmla="*/ 491 w 2774"/>
              <a:gd name="T79" fmla="*/ 326 h 2824"/>
              <a:gd name="T80" fmla="*/ 474 w 2774"/>
              <a:gd name="T81" fmla="*/ 321 h 2824"/>
              <a:gd name="T82" fmla="*/ 443 w 2774"/>
              <a:gd name="T83" fmla="*/ 325 h 2824"/>
              <a:gd name="T84" fmla="*/ 430 w 2774"/>
              <a:gd name="T85" fmla="*/ 300 h 2824"/>
              <a:gd name="T86" fmla="*/ 404 w 2774"/>
              <a:gd name="T87" fmla="*/ 307 h 2824"/>
              <a:gd name="T88" fmla="*/ 405 w 2774"/>
              <a:gd name="T89" fmla="*/ 291 h 2824"/>
              <a:gd name="T90" fmla="*/ 371 w 2774"/>
              <a:gd name="T91" fmla="*/ 266 h 2824"/>
              <a:gd name="T92" fmla="*/ 374 w 2774"/>
              <a:gd name="T93" fmla="*/ 243 h 2824"/>
              <a:gd name="T94" fmla="*/ 372 w 2774"/>
              <a:gd name="T95" fmla="*/ 233 h 2824"/>
              <a:gd name="T96" fmla="*/ 389 w 2774"/>
              <a:gd name="T97" fmla="*/ 221 h 2824"/>
              <a:gd name="T98" fmla="*/ 429 w 2774"/>
              <a:gd name="T99" fmla="*/ 210 h 2824"/>
              <a:gd name="T100" fmla="*/ 445 w 2774"/>
              <a:gd name="T101" fmla="*/ 190 h 2824"/>
              <a:gd name="T102" fmla="*/ 424 w 2774"/>
              <a:gd name="T103" fmla="*/ 160 h 2824"/>
              <a:gd name="T104" fmla="*/ 401 w 2774"/>
              <a:gd name="T105" fmla="*/ 143 h 2824"/>
              <a:gd name="T106" fmla="*/ 389 w 2774"/>
              <a:gd name="T107" fmla="*/ 103 h 2824"/>
              <a:gd name="T108" fmla="*/ 359 w 2774"/>
              <a:gd name="T109" fmla="*/ 84 h 2824"/>
              <a:gd name="T110" fmla="*/ 355 w 2774"/>
              <a:gd name="T111" fmla="*/ 61 h 2824"/>
              <a:gd name="T112" fmla="*/ 357 w 2774"/>
              <a:gd name="T113" fmla="*/ 46 h 2824"/>
              <a:gd name="T114" fmla="*/ 330 w 2774"/>
              <a:gd name="T115" fmla="*/ 54 h 2824"/>
              <a:gd name="T116" fmla="*/ 320 w 2774"/>
              <a:gd name="T117" fmla="*/ 31 h 2824"/>
              <a:gd name="T118" fmla="*/ 294 w 2774"/>
              <a:gd name="T119" fmla="*/ 6 h 2824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2774"/>
              <a:gd name="T181" fmla="*/ 0 h 2824"/>
              <a:gd name="T182" fmla="*/ 2774 w 2774"/>
              <a:gd name="T183" fmla="*/ 2824 h 2824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2774" h="2824">
                <a:moveTo>
                  <a:pt x="1148" y="4"/>
                </a:moveTo>
                <a:lnTo>
                  <a:pt x="1152" y="25"/>
                </a:lnTo>
                <a:lnTo>
                  <a:pt x="1164" y="46"/>
                </a:lnTo>
                <a:lnTo>
                  <a:pt x="1171" y="65"/>
                </a:lnTo>
                <a:lnTo>
                  <a:pt x="1175" y="83"/>
                </a:lnTo>
                <a:lnTo>
                  <a:pt x="1175" y="119"/>
                </a:lnTo>
                <a:lnTo>
                  <a:pt x="1175" y="136"/>
                </a:lnTo>
                <a:lnTo>
                  <a:pt x="1179" y="154"/>
                </a:lnTo>
                <a:lnTo>
                  <a:pt x="1194" y="180"/>
                </a:lnTo>
                <a:lnTo>
                  <a:pt x="1210" y="209"/>
                </a:lnTo>
                <a:lnTo>
                  <a:pt x="1214" y="223"/>
                </a:lnTo>
                <a:lnTo>
                  <a:pt x="1217" y="244"/>
                </a:lnTo>
                <a:lnTo>
                  <a:pt x="1217" y="269"/>
                </a:lnTo>
                <a:lnTo>
                  <a:pt x="1214" y="284"/>
                </a:lnTo>
                <a:lnTo>
                  <a:pt x="1210" y="296"/>
                </a:lnTo>
                <a:lnTo>
                  <a:pt x="1202" y="298"/>
                </a:lnTo>
                <a:lnTo>
                  <a:pt x="1194" y="301"/>
                </a:lnTo>
                <a:lnTo>
                  <a:pt x="1187" y="307"/>
                </a:lnTo>
                <a:lnTo>
                  <a:pt x="1183" y="315"/>
                </a:lnTo>
                <a:lnTo>
                  <a:pt x="1179" y="355"/>
                </a:lnTo>
                <a:lnTo>
                  <a:pt x="1175" y="394"/>
                </a:lnTo>
                <a:lnTo>
                  <a:pt x="1171" y="413"/>
                </a:lnTo>
                <a:lnTo>
                  <a:pt x="1160" y="426"/>
                </a:lnTo>
                <a:lnTo>
                  <a:pt x="1144" y="434"/>
                </a:lnTo>
                <a:lnTo>
                  <a:pt x="1127" y="438"/>
                </a:lnTo>
                <a:lnTo>
                  <a:pt x="1112" y="438"/>
                </a:lnTo>
                <a:lnTo>
                  <a:pt x="1100" y="434"/>
                </a:lnTo>
                <a:lnTo>
                  <a:pt x="1081" y="418"/>
                </a:lnTo>
                <a:lnTo>
                  <a:pt x="1073" y="426"/>
                </a:lnTo>
                <a:lnTo>
                  <a:pt x="1066" y="430"/>
                </a:lnTo>
                <a:lnTo>
                  <a:pt x="1062" y="434"/>
                </a:lnTo>
                <a:lnTo>
                  <a:pt x="1054" y="430"/>
                </a:lnTo>
                <a:lnTo>
                  <a:pt x="1047" y="426"/>
                </a:lnTo>
                <a:lnTo>
                  <a:pt x="1031" y="413"/>
                </a:lnTo>
                <a:lnTo>
                  <a:pt x="1016" y="401"/>
                </a:lnTo>
                <a:lnTo>
                  <a:pt x="1006" y="397"/>
                </a:lnTo>
                <a:lnTo>
                  <a:pt x="995" y="394"/>
                </a:lnTo>
                <a:lnTo>
                  <a:pt x="976" y="394"/>
                </a:lnTo>
                <a:lnTo>
                  <a:pt x="960" y="394"/>
                </a:lnTo>
                <a:lnTo>
                  <a:pt x="945" y="386"/>
                </a:lnTo>
                <a:lnTo>
                  <a:pt x="933" y="376"/>
                </a:lnTo>
                <a:lnTo>
                  <a:pt x="926" y="365"/>
                </a:lnTo>
                <a:lnTo>
                  <a:pt x="922" y="357"/>
                </a:lnTo>
                <a:lnTo>
                  <a:pt x="910" y="355"/>
                </a:lnTo>
                <a:lnTo>
                  <a:pt x="903" y="357"/>
                </a:lnTo>
                <a:lnTo>
                  <a:pt x="895" y="361"/>
                </a:lnTo>
                <a:lnTo>
                  <a:pt x="891" y="361"/>
                </a:lnTo>
                <a:lnTo>
                  <a:pt x="881" y="365"/>
                </a:lnTo>
                <a:lnTo>
                  <a:pt x="870" y="365"/>
                </a:lnTo>
                <a:lnTo>
                  <a:pt x="866" y="361"/>
                </a:lnTo>
                <a:lnTo>
                  <a:pt x="862" y="355"/>
                </a:lnTo>
                <a:lnTo>
                  <a:pt x="858" y="340"/>
                </a:lnTo>
                <a:lnTo>
                  <a:pt x="858" y="326"/>
                </a:lnTo>
                <a:lnTo>
                  <a:pt x="858" y="311"/>
                </a:lnTo>
                <a:lnTo>
                  <a:pt x="855" y="296"/>
                </a:lnTo>
                <a:lnTo>
                  <a:pt x="847" y="292"/>
                </a:lnTo>
                <a:lnTo>
                  <a:pt x="839" y="288"/>
                </a:lnTo>
                <a:lnTo>
                  <a:pt x="832" y="280"/>
                </a:lnTo>
                <a:lnTo>
                  <a:pt x="828" y="269"/>
                </a:lnTo>
                <a:lnTo>
                  <a:pt x="812" y="240"/>
                </a:lnTo>
                <a:lnTo>
                  <a:pt x="793" y="211"/>
                </a:lnTo>
                <a:lnTo>
                  <a:pt x="778" y="186"/>
                </a:lnTo>
                <a:lnTo>
                  <a:pt x="774" y="173"/>
                </a:lnTo>
                <a:lnTo>
                  <a:pt x="770" y="157"/>
                </a:lnTo>
                <a:lnTo>
                  <a:pt x="774" y="152"/>
                </a:lnTo>
                <a:lnTo>
                  <a:pt x="778" y="144"/>
                </a:lnTo>
                <a:lnTo>
                  <a:pt x="782" y="136"/>
                </a:lnTo>
                <a:lnTo>
                  <a:pt x="782" y="125"/>
                </a:lnTo>
                <a:lnTo>
                  <a:pt x="778" y="123"/>
                </a:lnTo>
                <a:lnTo>
                  <a:pt x="770" y="115"/>
                </a:lnTo>
                <a:lnTo>
                  <a:pt x="757" y="108"/>
                </a:lnTo>
                <a:lnTo>
                  <a:pt x="749" y="111"/>
                </a:lnTo>
                <a:lnTo>
                  <a:pt x="741" y="119"/>
                </a:lnTo>
                <a:lnTo>
                  <a:pt x="734" y="125"/>
                </a:lnTo>
                <a:lnTo>
                  <a:pt x="734" y="140"/>
                </a:lnTo>
                <a:lnTo>
                  <a:pt x="718" y="132"/>
                </a:lnTo>
                <a:lnTo>
                  <a:pt x="707" y="129"/>
                </a:lnTo>
                <a:lnTo>
                  <a:pt x="684" y="132"/>
                </a:lnTo>
                <a:lnTo>
                  <a:pt x="665" y="144"/>
                </a:lnTo>
                <a:lnTo>
                  <a:pt x="642" y="152"/>
                </a:lnTo>
                <a:lnTo>
                  <a:pt x="632" y="154"/>
                </a:lnTo>
                <a:lnTo>
                  <a:pt x="617" y="154"/>
                </a:lnTo>
                <a:lnTo>
                  <a:pt x="590" y="152"/>
                </a:lnTo>
                <a:lnTo>
                  <a:pt x="571" y="148"/>
                </a:lnTo>
                <a:lnTo>
                  <a:pt x="559" y="136"/>
                </a:lnTo>
                <a:lnTo>
                  <a:pt x="551" y="125"/>
                </a:lnTo>
                <a:lnTo>
                  <a:pt x="551" y="115"/>
                </a:lnTo>
                <a:lnTo>
                  <a:pt x="551" y="108"/>
                </a:lnTo>
                <a:lnTo>
                  <a:pt x="461" y="83"/>
                </a:lnTo>
                <a:lnTo>
                  <a:pt x="371" y="58"/>
                </a:lnTo>
                <a:lnTo>
                  <a:pt x="348" y="46"/>
                </a:lnTo>
                <a:lnTo>
                  <a:pt x="336" y="42"/>
                </a:lnTo>
                <a:lnTo>
                  <a:pt x="321" y="38"/>
                </a:lnTo>
                <a:lnTo>
                  <a:pt x="313" y="38"/>
                </a:lnTo>
                <a:lnTo>
                  <a:pt x="306" y="46"/>
                </a:lnTo>
                <a:lnTo>
                  <a:pt x="294" y="67"/>
                </a:lnTo>
                <a:lnTo>
                  <a:pt x="283" y="90"/>
                </a:lnTo>
                <a:lnTo>
                  <a:pt x="275" y="100"/>
                </a:lnTo>
                <a:lnTo>
                  <a:pt x="263" y="108"/>
                </a:lnTo>
                <a:lnTo>
                  <a:pt x="250" y="111"/>
                </a:lnTo>
                <a:lnTo>
                  <a:pt x="212" y="119"/>
                </a:lnTo>
                <a:lnTo>
                  <a:pt x="154" y="125"/>
                </a:lnTo>
                <a:lnTo>
                  <a:pt x="98" y="125"/>
                </a:lnTo>
                <a:lnTo>
                  <a:pt x="71" y="125"/>
                </a:lnTo>
                <a:lnTo>
                  <a:pt x="48" y="125"/>
                </a:lnTo>
                <a:lnTo>
                  <a:pt x="37" y="129"/>
                </a:lnTo>
                <a:lnTo>
                  <a:pt x="29" y="132"/>
                </a:lnTo>
                <a:lnTo>
                  <a:pt x="22" y="140"/>
                </a:lnTo>
                <a:lnTo>
                  <a:pt x="18" y="152"/>
                </a:lnTo>
                <a:lnTo>
                  <a:pt x="4" y="169"/>
                </a:lnTo>
                <a:lnTo>
                  <a:pt x="0" y="180"/>
                </a:lnTo>
                <a:lnTo>
                  <a:pt x="0" y="198"/>
                </a:lnTo>
                <a:lnTo>
                  <a:pt x="4" y="219"/>
                </a:lnTo>
                <a:lnTo>
                  <a:pt x="14" y="240"/>
                </a:lnTo>
                <a:lnTo>
                  <a:pt x="29" y="259"/>
                </a:lnTo>
                <a:lnTo>
                  <a:pt x="41" y="269"/>
                </a:lnTo>
                <a:lnTo>
                  <a:pt x="60" y="280"/>
                </a:lnTo>
                <a:lnTo>
                  <a:pt x="71" y="288"/>
                </a:lnTo>
                <a:lnTo>
                  <a:pt x="75" y="296"/>
                </a:lnTo>
                <a:lnTo>
                  <a:pt x="83" y="307"/>
                </a:lnTo>
                <a:lnTo>
                  <a:pt x="83" y="319"/>
                </a:lnTo>
                <a:lnTo>
                  <a:pt x="87" y="328"/>
                </a:lnTo>
                <a:lnTo>
                  <a:pt x="95" y="336"/>
                </a:lnTo>
                <a:lnTo>
                  <a:pt x="95" y="351"/>
                </a:lnTo>
                <a:lnTo>
                  <a:pt x="91" y="369"/>
                </a:lnTo>
                <a:lnTo>
                  <a:pt x="87" y="384"/>
                </a:lnTo>
                <a:lnTo>
                  <a:pt x="79" y="401"/>
                </a:lnTo>
                <a:lnTo>
                  <a:pt x="79" y="413"/>
                </a:lnTo>
                <a:lnTo>
                  <a:pt x="79" y="418"/>
                </a:lnTo>
                <a:lnTo>
                  <a:pt x="83" y="422"/>
                </a:lnTo>
                <a:lnTo>
                  <a:pt x="95" y="426"/>
                </a:lnTo>
                <a:lnTo>
                  <a:pt x="114" y="422"/>
                </a:lnTo>
                <a:lnTo>
                  <a:pt x="133" y="415"/>
                </a:lnTo>
                <a:lnTo>
                  <a:pt x="129" y="422"/>
                </a:lnTo>
                <a:lnTo>
                  <a:pt x="129" y="434"/>
                </a:lnTo>
                <a:lnTo>
                  <a:pt x="129" y="442"/>
                </a:lnTo>
                <a:lnTo>
                  <a:pt x="135" y="447"/>
                </a:lnTo>
                <a:lnTo>
                  <a:pt x="139" y="451"/>
                </a:lnTo>
                <a:lnTo>
                  <a:pt x="146" y="455"/>
                </a:lnTo>
                <a:lnTo>
                  <a:pt x="146" y="470"/>
                </a:lnTo>
                <a:lnTo>
                  <a:pt x="146" y="484"/>
                </a:lnTo>
                <a:lnTo>
                  <a:pt x="158" y="495"/>
                </a:lnTo>
                <a:lnTo>
                  <a:pt x="181" y="516"/>
                </a:lnTo>
                <a:lnTo>
                  <a:pt x="204" y="534"/>
                </a:lnTo>
                <a:lnTo>
                  <a:pt x="215" y="545"/>
                </a:lnTo>
                <a:lnTo>
                  <a:pt x="215" y="557"/>
                </a:lnTo>
                <a:lnTo>
                  <a:pt x="215" y="566"/>
                </a:lnTo>
                <a:lnTo>
                  <a:pt x="212" y="574"/>
                </a:lnTo>
                <a:lnTo>
                  <a:pt x="200" y="587"/>
                </a:lnTo>
                <a:lnTo>
                  <a:pt x="185" y="599"/>
                </a:lnTo>
                <a:lnTo>
                  <a:pt x="181" y="610"/>
                </a:lnTo>
                <a:lnTo>
                  <a:pt x="181" y="616"/>
                </a:lnTo>
                <a:lnTo>
                  <a:pt x="185" y="628"/>
                </a:lnTo>
                <a:lnTo>
                  <a:pt x="189" y="639"/>
                </a:lnTo>
                <a:lnTo>
                  <a:pt x="196" y="649"/>
                </a:lnTo>
                <a:lnTo>
                  <a:pt x="196" y="660"/>
                </a:lnTo>
                <a:lnTo>
                  <a:pt x="181" y="697"/>
                </a:lnTo>
                <a:lnTo>
                  <a:pt x="169" y="726"/>
                </a:lnTo>
                <a:lnTo>
                  <a:pt x="162" y="739"/>
                </a:lnTo>
                <a:lnTo>
                  <a:pt x="150" y="743"/>
                </a:lnTo>
                <a:lnTo>
                  <a:pt x="142" y="747"/>
                </a:lnTo>
                <a:lnTo>
                  <a:pt x="142" y="754"/>
                </a:lnTo>
                <a:lnTo>
                  <a:pt x="142" y="760"/>
                </a:lnTo>
                <a:lnTo>
                  <a:pt x="146" y="768"/>
                </a:lnTo>
                <a:lnTo>
                  <a:pt x="166" y="779"/>
                </a:lnTo>
                <a:lnTo>
                  <a:pt x="185" y="789"/>
                </a:lnTo>
                <a:lnTo>
                  <a:pt x="208" y="797"/>
                </a:lnTo>
                <a:lnTo>
                  <a:pt x="294" y="829"/>
                </a:lnTo>
                <a:lnTo>
                  <a:pt x="336" y="850"/>
                </a:lnTo>
                <a:lnTo>
                  <a:pt x="356" y="862"/>
                </a:lnTo>
                <a:lnTo>
                  <a:pt x="371" y="875"/>
                </a:lnTo>
                <a:lnTo>
                  <a:pt x="392" y="898"/>
                </a:lnTo>
                <a:lnTo>
                  <a:pt x="411" y="923"/>
                </a:lnTo>
                <a:lnTo>
                  <a:pt x="434" y="956"/>
                </a:lnTo>
                <a:lnTo>
                  <a:pt x="450" y="989"/>
                </a:lnTo>
                <a:lnTo>
                  <a:pt x="469" y="1023"/>
                </a:lnTo>
                <a:lnTo>
                  <a:pt x="480" y="1063"/>
                </a:lnTo>
                <a:lnTo>
                  <a:pt x="488" y="1104"/>
                </a:lnTo>
                <a:lnTo>
                  <a:pt x="488" y="1142"/>
                </a:lnTo>
                <a:lnTo>
                  <a:pt x="469" y="1190"/>
                </a:lnTo>
                <a:lnTo>
                  <a:pt x="453" y="1228"/>
                </a:lnTo>
                <a:lnTo>
                  <a:pt x="438" y="1269"/>
                </a:lnTo>
                <a:lnTo>
                  <a:pt x="427" y="1290"/>
                </a:lnTo>
                <a:lnTo>
                  <a:pt x="415" y="1307"/>
                </a:lnTo>
                <a:lnTo>
                  <a:pt x="379" y="1351"/>
                </a:lnTo>
                <a:lnTo>
                  <a:pt x="356" y="1376"/>
                </a:lnTo>
                <a:lnTo>
                  <a:pt x="333" y="1392"/>
                </a:lnTo>
                <a:lnTo>
                  <a:pt x="309" y="1405"/>
                </a:lnTo>
                <a:lnTo>
                  <a:pt x="298" y="1417"/>
                </a:lnTo>
                <a:lnTo>
                  <a:pt x="294" y="1430"/>
                </a:lnTo>
                <a:lnTo>
                  <a:pt x="298" y="1449"/>
                </a:lnTo>
                <a:lnTo>
                  <a:pt x="306" y="1467"/>
                </a:lnTo>
                <a:lnTo>
                  <a:pt x="317" y="1480"/>
                </a:lnTo>
                <a:lnTo>
                  <a:pt x="333" y="1491"/>
                </a:lnTo>
                <a:lnTo>
                  <a:pt x="363" y="1516"/>
                </a:lnTo>
                <a:lnTo>
                  <a:pt x="392" y="1541"/>
                </a:lnTo>
                <a:lnTo>
                  <a:pt x="404" y="1557"/>
                </a:lnTo>
                <a:lnTo>
                  <a:pt x="415" y="1574"/>
                </a:lnTo>
                <a:lnTo>
                  <a:pt x="427" y="1610"/>
                </a:lnTo>
                <a:lnTo>
                  <a:pt x="438" y="1653"/>
                </a:lnTo>
                <a:lnTo>
                  <a:pt x="446" y="1672"/>
                </a:lnTo>
                <a:lnTo>
                  <a:pt x="453" y="1685"/>
                </a:lnTo>
                <a:lnTo>
                  <a:pt x="480" y="1714"/>
                </a:lnTo>
                <a:lnTo>
                  <a:pt x="507" y="1747"/>
                </a:lnTo>
                <a:lnTo>
                  <a:pt x="521" y="1764"/>
                </a:lnTo>
                <a:lnTo>
                  <a:pt x="528" y="1783"/>
                </a:lnTo>
                <a:lnTo>
                  <a:pt x="536" y="1800"/>
                </a:lnTo>
                <a:lnTo>
                  <a:pt x="540" y="1822"/>
                </a:lnTo>
                <a:lnTo>
                  <a:pt x="536" y="1845"/>
                </a:lnTo>
                <a:lnTo>
                  <a:pt x="532" y="1858"/>
                </a:lnTo>
                <a:lnTo>
                  <a:pt x="528" y="1877"/>
                </a:lnTo>
                <a:lnTo>
                  <a:pt x="524" y="1895"/>
                </a:lnTo>
                <a:lnTo>
                  <a:pt x="517" y="1931"/>
                </a:lnTo>
                <a:lnTo>
                  <a:pt x="513" y="1931"/>
                </a:lnTo>
                <a:lnTo>
                  <a:pt x="507" y="1923"/>
                </a:lnTo>
                <a:lnTo>
                  <a:pt x="503" y="1919"/>
                </a:lnTo>
                <a:lnTo>
                  <a:pt x="496" y="1919"/>
                </a:lnTo>
                <a:lnTo>
                  <a:pt x="488" y="1919"/>
                </a:lnTo>
                <a:lnTo>
                  <a:pt x="480" y="1927"/>
                </a:lnTo>
                <a:lnTo>
                  <a:pt x="469" y="1937"/>
                </a:lnTo>
                <a:lnTo>
                  <a:pt x="668" y="2574"/>
                </a:lnTo>
                <a:lnTo>
                  <a:pt x="672" y="2578"/>
                </a:lnTo>
                <a:lnTo>
                  <a:pt x="672" y="2586"/>
                </a:lnTo>
                <a:lnTo>
                  <a:pt x="668" y="2599"/>
                </a:lnTo>
                <a:lnTo>
                  <a:pt x="672" y="2618"/>
                </a:lnTo>
                <a:lnTo>
                  <a:pt x="684" y="2635"/>
                </a:lnTo>
                <a:lnTo>
                  <a:pt x="699" y="2655"/>
                </a:lnTo>
                <a:lnTo>
                  <a:pt x="722" y="2672"/>
                </a:lnTo>
                <a:lnTo>
                  <a:pt x="761" y="2701"/>
                </a:lnTo>
                <a:lnTo>
                  <a:pt x="789" y="2726"/>
                </a:lnTo>
                <a:lnTo>
                  <a:pt x="797" y="2733"/>
                </a:lnTo>
                <a:lnTo>
                  <a:pt x="801" y="2743"/>
                </a:lnTo>
                <a:lnTo>
                  <a:pt x="805" y="2751"/>
                </a:lnTo>
                <a:lnTo>
                  <a:pt x="812" y="2758"/>
                </a:lnTo>
                <a:lnTo>
                  <a:pt x="828" y="2758"/>
                </a:lnTo>
                <a:lnTo>
                  <a:pt x="835" y="2762"/>
                </a:lnTo>
                <a:lnTo>
                  <a:pt x="858" y="2758"/>
                </a:lnTo>
                <a:lnTo>
                  <a:pt x="885" y="2758"/>
                </a:lnTo>
                <a:lnTo>
                  <a:pt x="906" y="2754"/>
                </a:lnTo>
                <a:lnTo>
                  <a:pt x="929" y="2747"/>
                </a:lnTo>
                <a:lnTo>
                  <a:pt x="956" y="2747"/>
                </a:lnTo>
                <a:lnTo>
                  <a:pt x="968" y="2747"/>
                </a:lnTo>
                <a:lnTo>
                  <a:pt x="979" y="2751"/>
                </a:lnTo>
                <a:lnTo>
                  <a:pt x="995" y="2766"/>
                </a:lnTo>
                <a:lnTo>
                  <a:pt x="1012" y="2776"/>
                </a:lnTo>
                <a:lnTo>
                  <a:pt x="1024" y="2783"/>
                </a:lnTo>
                <a:lnTo>
                  <a:pt x="1035" y="2783"/>
                </a:lnTo>
                <a:lnTo>
                  <a:pt x="1070" y="2779"/>
                </a:lnTo>
                <a:lnTo>
                  <a:pt x="1085" y="2783"/>
                </a:lnTo>
                <a:lnTo>
                  <a:pt x="1093" y="2783"/>
                </a:lnTo>
                <a:lnTo>
                  <a:pt x="1096" y="2791"/>
                </a:lnTo>
                <a:lnTo>
                  <a:pt x="1112" y="2808"/>
                </a:lnTo>
                <a:lnTo>
                  <a:pt x="1120" y="2820"/>
                </a:lnTo>
                <a:lnTo>
                  <a:pt x="1127" y="2824"/>
                </a:lnTo>
                <a:lnTo>
                  <a:pt x="1131" y="2824"/>
                </a:lnTo>
                <a:lnTo>
                  <a:pt x="1148" y="2820"/>
                </a:lnTo>
                <a:lnTo>
                  <a:pt x="1164" y="2816"/>
                </a:lnTo>
                <a:lnTo>
                  <a:pt x="1175" y="2804"/>
                </a:lnTo>
                <a:lnTo>
                  <a:pt x="1194" y="2799"/>
                </a:lnTo>
                <a:lnTo>
                  <a:pt x="1198" y="2808"/>
                </a:lnTo>
                <a:lnTo>
                  <a:pt x="1202" y="2812"/>
                </a:lnTo>
                <a:lnTo>
                  <a:pt x="1210" y="2816"/>
                </a:lnTo>
                <a:lnTo>
                  <a:pt x="1225" y="2812"/>
                </a:lnTo>
                <a:lnTo>
                  <a:pt x="1237" y="2804"/>
                </a:lnTo>
                <a:lnTo>
                  <a:pt x="1248" y="2799"/>
                </a:lnTo>
                <a:lnTo>
                  <a:pt x="1256" y="2787"/>
                </a:lnTo>
                <a:lnTo>
                  <a:pt x="1277" y="2766"/>
                </a:lnTo>
                <a:lnTo>
                  <a:pt x="1285" y="2754"/>
                </a:lnTo>
                <a:lnTo>
                  <a:pt x="1300" y="2747"/>
                </a:lnTo>
                <a:lnTo>
                  <a:pt x="1319" y="2741"/>
                </a:lnTo>
                <a:lnTo>
                  <a:pt x="1342" y="2737"/>
                </a:lnTo>
                <a:lnTo>
                  <a:pt x="1394" y="2737"/>
                </a:lnTo>
                <a:lnTo>
                  <a:pt x="1390" y="2747"/>
                </a:lnTo>
                <a:lnTo>
                  <a:pt x="1386" y="2758"/>
                </a:lnTo>
                <a:lnTo>
                  <a:pt x="1394" y="2779"/>
                </a:lnTo>
                <a:lnTo>
                  <a:pt x="1398" y="2787"/>
                </a:lnTo>
                <a:lnTo>
                  <a:pt x="1402" y="2791"/>
                </a:lnTo>
                <a:lnTo>
                  <a:pt x="1409" y="2791"/>
                </a:lnTo>
                <a:lnTo>
                  <a:pt x="1413" y="2787"/>
                </a:lnTo>
                <a:lnTo>
                  <a:pt x="1440" y="2737"/>
                </a:lnTo>
                <a:lnTo>
                  <a:pt x="1467" y="2685"/>
                </a:lnTo>
                <a:lnTo>
                  <a:pt x="1482" y="2655"/>
                </a:lnTo>
                <a:lnTo>
                  <a:pt x="1494" y="2618"/>
                </a:lnTo>
                <a:lnTo>
                  <a:pt x="1509" y="2586"/>
                </a:lnTo>
                <a:lnTo>
                  <a:pt x="1519" y="2568"/>
                </a:lnTo>
                <a:lnTo>
                  <a:pt x="1534" y="2557"/>
                </a:lnTo>
                <a:lnTo>
                  <a:pt x="1546" y="2545"/>
                </a:lnTo>
                <a:lnTo>
                  <a:pt x="1557" y="2532"/>
                </a:lnTo>
                <a:lnTo>
                  <a:pt x="1569" y="2503"/>
                </a:lnTo>
                <a:lnTo>
                  <a:pt x="1584" y="2474"/>
                </a:lnTo>
                <a:lnTo>
                  <a:pt x="1596" y="2459"/>
                </a:lnTo>
                <a:lnTo>
                  <a:pt x="1607" y="2449"/>
                </a:lnTo>
                <a:lnTo>
                  <a:pt x="1634" y="2424"/>
                </a:lnTo>
                <a:lnTo>
                  <a:pt x="1659" y="2397"/>
                </a:lnTo>
                <a:lnTo>
                  <a:pt x="1682" y="2367"/>
                </a:lnTo>
                <a:lnTo>
                  <a:pt x="1705" y="2330"/>
                </a:lnTo>
                <a:lnTo>
                  <a:pt x="1720" y="2290"/>
                </a:lnTo>
                <a:lnTo>
                  <a:pt x="1736" y="2252"/>
                </a:lnTo>
                <a:lnTo>
                  <a:pt x="1743" y="2211"/>
                </a:lnTo>
                <a:lnTo>
                  <a:pt x="1747" y="2171"/>
                </a:lnTo>
                <a:lnTo>
                  <a:pt x="1747" y="2146"/>
                </a:lnTo>
                <a:lnTo>
                  <a:pt x="1751" y="2121"/>
                </a:lnTo>
                <a:lnTo>
                  <a:pt x="1759" y="2100"/>
                </a:lnTo>
                <a:lnTo>
                  <a:pt x="1772" y="2052"/>
                </a:lnTo>
                <a:lnTo>
                  <a:pt x="1776" y="2027"/>
                </a:lnTo>
                <a:lnTo>
                  <a:pt x="1780" y="2002"/>
                </a:lnTo>
                <a:lnTo>
                  <a:pt x="1780" y="1981"/>
                </a:lnTo>
                <a:lnTo>
                  <a:pt x="1787" y="1956"/>
                </a:lnTo>
                <a:lnTo>
                  <a:pt x="1795" y="1931"/>
                </a:lnTo>
                <a:lnTo>
                  <a:pt x="1811" y="1908"/>
                </a:lnTo>
                <a:lnTo>
                  <a:pt x="1822" y="1891"/>
                </a:lnTo>
                <a:lnTo>
                  <a:pt x="1841" y="1870"/>
                </a:lnTo>
                <a:lnTo>
                  <a:pt x="1876" y="1837"/>
                </a:lnTo>
                <a:lnTo>
                  <a:pt x="1908" y="1800"/>
                </a:lnTo>
                <a:lnTo>
                  <a:pt x="1908" y="1743"/>
                </a:lnTo>
                <a:lnTo>
                  <a:pt x="1916" y="1733"/>
                </a:lnTo>
                <a:lnTo>
                  <a:pt x="1920" y="1718"/>
                </a:lnTo>
                <a:lnTo>
                  <a:pt x="1924" y="1689"/>
                </a:lnTo>
                <a:lnTo>
                  <a:pt x="1931" y="1657"/>
                </a:lnTo>
                <a:lnTo>
                  <a:pt x="1939" y="1643"/>
                </a:lnTo>
                <a:lnTo>
                  <a:pt x="1947" y="1632"/>
                </a:lnTo>
                <a:lnTo>
                  <a:pt x="1962" y="1614"/>
                </a:lnTo>
                <a:lnTo>
                  <a:pt x="1981" y="1595"/>
                </a:lnTo>
                <a:lnTo>
                  <a:pt x="2018" y="1566"/>
                </a:lnTo>
                <a:lnTo>
                  <a:pt x="2060" y="1541"/>
                </a:lnTo>
                <a:lnTo>
                  <a:pt x="2106" y="1520"/>
                </a:lnTo>
                <a:lnTo>
                  <a:pt x="2137" y="1505"/>
                </a:lnTo>
                <a:lnTo>
                  <a:pt x="2169" y="1484"/>
                </a:lnTo>
                <a:lnTo>
                  <a:pt x="2200" y="1470"/>
                </a:lnTo>
                <a:lnTo>
                  <a:pt x="2227" y="1455"/>
                </a:lnTo>
                <a:lnTo>
                  <a:pt x="2267" y="1445"/>
                </a:lnTo>
                <a:lnTo>
                  <a:pt x="2283" y="1438"/>
                </a:lnTo>
                <a:lnTo>
                  <a:pt x="2302" y="1430"/>
                </a:lnTo>
                <a:lnTo>
                  <a:pt x="2356" y="1394"/>
                </a:lnTo>
                <a:lnTo>
                  <a:pt x="2383" y="1376"/>
                </a:lnTo>
                <a:lnTo>
                  <a:pt x="2411" y="1369"/>
                </a:lnTo>
                <a:lnTo>
                  <a:pt x="2454" y="1359"/>
                </a:lnTo>
                <a:lnTo>
                  <a:pt x="2492" y="1340"/>
                </a:lnTo>
                <a:lnTo>
                  <a:pt x="2525" y="1319"/>
                </a:lnTo>
                <a:lnTo>
                  <a:pt x="2555" y="1294"/>
                </a:lnTo>
                <a:lnTo>
                  <a:pt x="2578" y="1261"/>
                </a:lnTo>
                <a:lnTo>
                  <a:pt x="2597" y="1225"/>
                </a:lnTo>
                <a:lnTo>
                  <a:pt x="2613" y="1182"/>
                </a:lnTo>
                <a:lnTo>
                  <a:pt x="2624" y="1138"/>
                </a:lnTo>
                <a:lnTo>
                  <a:pt x="2638" y="1077"/>
                </a:lnTo>
                <a:lnTo>
                  <a:pt x="2645" y="1042"/>
                </a:lnTo>
                <a:lnTo>
                  <a:pt x="2645" y="1017"/>
                </a:lnTo>
                <a:lnTo>
                  <a:pt x="2645" y="1006"/>
                </a:lnTo>
                <a:lnTo>
                  <a:pt x="2645" y="994"/>
                </a:lnTo>
                <a:lnTo>
                  <a:pt x="2657" y="977"/>
                </a:lnTo>
                <a:lnTo>
                  <a:pt x="2672" y="956"/>
                </a:lnTo>
                <a:lnTo>
                  <a:pt x="2692" y="937"/>
                </a:lnTo>
                <a:lnTo>
                  <a:pt x="2738" y="902"/>
                </a:lnTo>
                <a:lnTo>
                  <a:pt x="2774" y="875"/>
                </a:lnTo>
                <a:lnTo>
                  <a:pt x="2770" y="883"/>
                </a:lnTo>
                <a:lnTo>
                  <a:pt x="2699" y="804"/>
                </a:lnTo>
                <a:lnTo>
                  <a:pt x="2056" y="1211"/>
                </a:lnTo>
                <a:lnTo>
                  <a:pt x="2045" y="1190"/>
                </a:lnTo>
                <a:lnTo>
                  <a:pt x="2033" y="1167"/>
                </a:lnTo>
                <a:lnTo>
                  <a:pt x="2022" y="1161"/>
                </a:lnTo>
                <a:lnTo>
                  <a:pt x="2004" y="1154"/>
                </a:lnTo>
                <a:lnTo>
                  <a:pt x="1993" y="1146"/>
                </a:lnTo>
                <a:lnTo>
                  <a:pt x="1985" y="1138"/>
                </a:lnTo>
                <a:lnTo>
                  <a:pt x="1985" y="1133"/>
                </a:lnTo>
                <a:lnTo>
                  <a:pt x="1985" y="1125"/>
                </a:lnTo>
                <a:lnTo>
                  <a:pt x="1989" y="1121"/>
                </a:lnTo>
                <a:lnTo>
                  <a:pt x="2004" y="1113"/>
                </a:lnTo>
                <a:lnTo>
                  <a:pt x="2014" y="1104"/>
                </a:lnTo>
                <a:lnTo>
                  <a:pt x="2022" y="1100"/>
                </a:lnTo>
                <a:lnTo>
                  <a:pt x="2022" y="1092"/>
                </a:lnTo>
                <a:lnTo>
                  <a:pt x="2022" y="1085"/>
                </a:lnTo>
                <a:lnTo>
                  <a:pt x="2014" y="1077"/>
                </a:lnTo>
                <a:lnTo>
                  <a:pt x="2004" y="1077"/>
                </a:lnTo>
                <a:lnTo>
                  <a:pt x="1997" y="1077"/>
                </a:lnTo>
                <a:lnTo>
                  <a:pt x="1989" y="1081"/>
                </a:lnTo>
                <a:lnTo>
                  <a:pt x="1970" y="1096"/>
                </a:lnTo>
                <a:lnTo>
                  <a:pt x="1954" y="1113"/>
                </a:lnTo>
                <a:lnTo>
                  <a:pt x="1951" y="1125"/>
                </a:lnTo>
                <a:lnTo>
                  <a:pt x="1947" y="1133"/>
                </a:lnTo>
                <a:lnTo>
                  <a:pt x="1951" y="1142"/>
                </a:lnTo>
                <a:lnTo>
                  <a:pt x="1951" y="1150"/>
                </a:lnTo>
                <a:lnTo>
                  <a:pt x="1962" y="1163"/>
                </a:lnTo>
                <a:lnTo>
                  <a:pt x="1977" y="1171"/>
                </a:lnTo>
                <a:lnTo>
                  <a:pt x="1993" y="1182"/>
                </a:lnTo>
                <a:lnTo>
                  <a:pt x="1997" y="1190"/>
                </a:lnTo>
                <a:lnTo>
                  <a:pt x="1997" y="1200"/>
                </a:lnTo>
                <a:lnTo>
                  <a:pt x="1993" y="1225"/>
                </a:lnTo>
                <a:lnTo>
                  <a:pt x="1997" y="1232"/>
                </a:lnTo>
                <a:lnTo>
                  <a:pt x="2001" y="1240"/>
                </a:lnTo>
                <a:lnTo>
                  <a:pt x="2008" y="1257"/>
                </a:lnTo>
                <a:lnTo>
                  <a:pt x="2018" y="1273"/>
                </a:lnTo>
                <a:lnTo>
                  <a:pt x="2022" y="1282"/>
                </a:lnTo>
                <a:lnTo>
                  <a:pt x="2025" y="1294"/>
                </a:lnTo>
                <a:lnTo>
                  <a:pt x="2014" y="1307"/>
                </a:lnTo>
                <a:lnTo>
                  <a:pt x="2008" y="1315"/>
                </a:lnTo>
                <a:lnTo>
                  <a:pt x="2004" y="1319"/>
                </a:lnTo>
                <a:lnTo>
                  <a:pt x="1993" y="1315"/>
                </a:lnTo>
                <a:lnTo>
                  <a:pt x="1981" y="1311"/>
                </a:lnTo>
                <a:lnTo>
                  <a:pt x="1974" y="1305"/>
                </a:lnTo>
                <a:lnTo>
                  <a:pt x="1966" y="1301"/>
                </a:lnTo>
                <a:lnTo>
                  <a:pt x="1958" y="1301"/>
                </a:lnTo>
                <a:lnTo>
                  <a:pt x="1951" y="1307"/>
                </a:lnTo>
                <a:lnTo>
                  <a:pt x="1947" y="1311"/>
                </a:lnTo>
                <a:lnTo>
                  <a:pt x="1939" y="1311"/>
                </a:lnTo>
                <a:lnTo>
                  <a:pt x="1931" y="1311"/>
                </a:lnTo>
                <a:lnTo>
                  <a:pt x="1928" y="1307"/>
                </a:lnTo>
                <a:lnTo>
                  <a:pt x="1916" y="1298"/>
                </a:lnTo>
                <a:lnTo>
                  <a:pt x="1908" y="1286"/>
                </a:lnTo>
                <a:lnTo>
                  <a:pt x="1901" y="1282"/>
                </a:lnTo>
                <a:lnTo>
                  <a:pt x="1897" y="1282"/>
                </a:lnTo>
                <a:lnTo>
                  <a:pt x="1887" y="1286"/>
                </a:lnTo>
                <a:lnTo>
                  <a:pt x="1880" y="1294"/>
                </a:lnTo>
                <a:lnTo>
                  <a:pt x="1872" y="1311"/>
                </a:lnTo>
                <a:lnTo>
                  <a:pt x="1860" y="1305"/>
                </a:lnTo>
                <a:lnTo>
                  <a:pt x="1853" y="1305"/>
                </a:lnTo>
                <a:lnTo>
                  <a:pt x="1799" y="1305"/>
                </a:lnTo>
                <a:lnTo>
                  <a:pt x="1787" y="1305"/>
                </a:lnTo>
                <a:lnTo>
                  <a:pt x="1780" y="1311"/>
                </a:lnTo>
                <a:lnTo>
                  <a:pt x="1776" y="1305"/>
                </a:lnTo>
                <a:lnTo>
                  <a:pt x="1772" y="1298"/>
                </a:lnTo>
                <a:lnTo>
                  <a:pt x="1772" y="1290"/>
                </a:lnTo>
                <a:lnTo>
                  <a:pt x="1772" y="1282"/>
                </a:lnTo>
                <a:lnTo>
                  <a:pt x="1764" y="1273"/>
                </a:lnTo>
                <a:lnTo>
                  <a:pt x="1755" y="1269"/>
                </a:lnTo>
                <a:lnTo>
                  <a:pt x="1747" y="1265"/>
                </a:lnTo>
                <a:lnTo>
                  <a:pt x="1743" y="1261"/>
                </a:lnTo>
                <a:lnTo>
                  <a:pt x="1743" y="1257"/>
                </a:lnTo>
                <a:lnTo>
                  <a:pt x="1743" y="1225"/>
                </a:lnTo>
                <a:lnTo>
                  <a:pt x="1743" y="1200"/>
                </a:lnTo>
                <a:lnTo>
                  <a:pt x="1720" y="1200"/>
                </a:lnTo>
                <a:lnTo>
                  <a:pt x="1709" y="1204"/>
                </a:lnTo>
                <a:lnTo>
                  <a:pt x="1701" y="1211"/>
                </a:lnTo>
                <a:lnTo>
                  <a:pt x="1697" y="1221"/>
                </a:lnTo>
                <a:lnTo>
                  <a:pt x="1693" y="1236"/>
                </a:lnTo>
                <a:lnTo>
                  <a:pt x="1690" y="1257"/>
                </a:lnTo>
                <a:lnTo>
                  <a:pt x="1686" y="1269"/>
                </a:lnTo>
                <a:lnTo>
                  <a:pt x="1674" y="1269"/>
                </a:lnTo>
                <a:lnTo>
                  <a:pt x="1644" y="1253"/>
                </a:lnTo>
                <a:lnTo>
                  <a:pt x="1626" y="1240"/>
                </a:lnTo>
                <a:lnTo>
                  <a:pt x="1619" y="1228"/>
                </a:lnTo>
                <a:lnTo>
                  <a:pt x="1622" y="1221"/>
                </a:lnTo>
                <a:lnTo>
                  <a:pt x="1626" y="1215"/>
                </a:lnTo>
                <a:lnTo>
                  <a:pt x="1630" y="1211"/>
                </a:lnTo>
                <a:lnTo>
                  <a:pt x="1634" y="1204"/>
                </a:lnTo>
                <a:lnTo>
                  <a:pt x="1630" y="1196"/>
                </a:lnTo>
                <a:lnTo>
                  <a:pt x="1626" y="1190"/>
                </a:lnTo>
                <a:lnTo>
                  <a:pt x="1622" y="1182"/>
                </a:lnTo>
                <a:lnTo>
                  <a:pt x="1619" y="1171"/>
                </a:lnTo>
                <a:lnTo>
                  <a:pt x="1619" y="1163"/>
                </a:lnTo>
                <a:lnTo>
                  <a:pt x="1622" y="1161"/>
                </a:lnTo>
                <a:lnTo>
                  <a:pt x="1626" y="1154"/>
                </a:lnTo>
                <a:lnTo>
                  <a:pt x="1603" y="1142"/>
                </a:lnTo>
                <a:lnTo>
                  <a:pt x="1580" y="1138"/>
                </a:lnTo>
                <a:lnTo>
                  <a:pt x="1561" y="1134"/>
                </a:lnTo>
                <a:lnTo>
                  <a:pt x="1538" y="1129"/>
                </a:lnTo>
                <a:lnTo>
                  <a:pt x="1526" y="1125"/>
                </a:lnTo>
                <a:lnTo>
                  <a:pt x="1519" y="1117"/>
                </a:lnTo>
                <a:lnTo>
                  <a:pt x="1509" y="1100"/>
                </a:lnTo>
                <a:lnTo>
                  <a:pt x="1498" y="1081"/>
                </a:lnTo>
                <a:lnTo>
                  <a:pt x="1486" y="1063"/>
                </a:lnTo>
                <a:lnTo>
                  <a:pt x="1478" y="1060"/>
                </a:lnTo>
                <a:lnTo>
                  <a:pt x="1467" y="1056"/>
                </a:lnTo>
                <a:lnTo>
                  <a:pt x="1459" y="1048"/>
                </a:lnTo>
                <a:lnTo>
                  <a:pt x="1455" y="1042"/>
                </a:lnTo>
                <a:lnTo>
                  <a:pt x="1459" y="1035"/>
                </a:lnTo>
                <a:lnTo>
                  <a:pt x="1463" y="1023"/>
                </a:lnTo>
                <a:lnTo>
                  <a:pt x="1478" y="1010"/>
                </a:lnTo>
                <a:lnTo>
                  <a:pt x="1490" y="990"/>
                </a:lnTo>
                <a:lnTo>
                  <a:pt x="1494" y="981"/>
                </a:lnTo>
                <a:lnTo>
                  <a:pt x="1498" y="973"/>
                </a:lnTo>
                <a:lnTo>
                  <a:pt x="1482" y="966"/>
                </a:lnTo>
                <a:lnTo>
                  <a:pt x="1471" y="960"/>
                </a:lnTo>
                <a:lnTo>
                  <a:pt x="1459" y="952"/>
                </a:lnTo>
                <a:lnTo>
                  <a:pt x="1448" y="941"/>
                </a:lnTo>
                <a:lnTo>
                  <a:pt x="1448" y="933"/>
                </a:lnTo>
                <a:lnTo>
                  <a:pt x="1452" y="931"/>
                </a:lnTo>
                <a:lnTo>
                  <a:pt x="1455" y="927"/>
                </a:lnTo>
                <a:lnTo>
                  <a:pt x="1463" y="927"/>
                </a:lnTo>
                <a:lnTo>
                  <a:pt x="1478" y="931"/>
                </a:lnTo>
                <a:lnTo>
                  <a:pt x="1490" y="933"/>
                </a:lnTo>
                <a:lnTo>
                  <a:pt x="1501" y="941"/>
                </a:lnTo>
                <a:lnTo>
                  <a:pt x="1515" y="941"/>
                </a:lnTo>
                <a:lnTo>
                  <a:pt x="1534" y="941"/>
                </a:lnTo>
                <a:lnTo>
                  <a:pt x="1526" y="916"/>
                </a:lnTo>
                <a:lnTo>
                  <a:pt x="1519" y="898"/>
                </a:lnTo>
                <a:lnTo>
                  <a:pt x="1490" y="870"/>
                </a:lnTo>
                <a:lnTo>
                  <a:pt x="1501" y="866"/>
                </a:lnTo>
                <a:lnTo>
                  <a:pt x="1519" y="870"/>
                </a:lnTo>
                <a:lnTo>
                  <a:pt x="1538" y="879"/>
                </a:lnTo>
                <a:lnTo>
                  <a:pt x="1557" y="887"/>
                </a:lnTo>
                <a:lnTo>
                  <a:pt x="1580" y="891"/>
                </a:lnTo>
                <a:lnTo>
                  <a:pt x="1599" y="891"/>
                </a:lnTo>
                <a:lnTo>
                  <a:pt x="1619" y="883"/>
                </a:lnTo>
                <a:lnTo>
                  <a:pt x="1630" y="875"/>
                </a:lnTo>
                <a:lnTo>
                  <a:pt x="1640" y="870"/>
                </a:lnTo>
                <a:lnTo>
                  <a:pt x="1663" y="850"/>
                </a:lnTo>
                <a:lnTo>
                  <a:pt x="1678" y="847"/>
                </a:lnTo>
                <a:lnTo>
                  <a:pt x="1697" y="845"/>
                </a:lnTo>
                <a:lnTo>
                  <a:pt x="1709" y="845"/>
                </a:lnTo>
                <a:lnTo>
                  <a:pt x="1716" y="841"/>
                </a:lnTo>
                <a:lnTo>
                  <a:pt x="1724" y="825"/>
                </a:lnTo>
                <a:lnTo>
                  <a:pt x="1732" y="816"/>
                </a:lnTo>
                <a:lnTo>
                  <a:pt x="1739" y="808"/>
                </a:lnTo>
                <a:lnTo>
                  <a:pt x="1747" y="808"/>
                </a:lnTo>
                <a:lnTo>
                  <a:pt x="1799" y="808"/>
                </a:lnTo>
                <a:lnTo>
                  <a:pt x="1799" y="793"/>
                </a:lnTo>
                <a:lnTo>
                  <a:pt x="1784" y="783"/>
                </a:lnTo>
                <a:lnTo>
                  <a:pt x="1780" y="776"/>
                </a:lnTo>
                <a:lnTo>
                  <a:pt x="1776" y="768"/>
                </a:lnTo>
                <a:lnTo>
                  <a:pt x="1780" y="760"/>
                </a:lnTo>
                <a:lnTo>
                  <a:pt x="1784" y="754"/>
                </a:lnTo>
                <a:lnTo>
                  <a:pt x="1791" y="747"/>
                </a:lnTo>
                <a:lnTo>
                  <a:pt x="1795" y="739"/>
                </a:lnTo>
                <a:lnTo>
                  <a:pt x="1791" y="726"/>
                </a:lnTo>
                <a:lnTo>
                  <a:pt x="1784" y="710"/>
                </a:lnTo>
                <a:lnTo>
                  <a:pt x="1776" y="701"/>
                </a:lnTo>
                <a:lnTo>
                  <a:pt x="1764" y="685"/>
                </a:lnTo>
                <a:lnTo>
                  <a:pt x="1716" y="649"/>
                </a:lnTo>
                <a:lnTo>
                  <a:pt x="1709" y="643"/>
                </a:lnTo>
                <a:lnTo>
                  <a:pt x="1697" y="639"/>
                </a:lnTo>
                <a:lnTo>
                  <a:pt x="1690" y="635"/>
                </a:lnTo>
                <a:lnTo>
                  <a:pt x="1686" y="628"/>
                </a:lnTo>
                <a:lnTo>
                  <a:pt x="1686" y="616"/>
                </a:lnTo>
                <a:lnTo>
                  <a:pt x="1690" y="610"/>
                </a:lnTo>
                <a:lnTo>
                  <a:pt x="1701" y="591"/>
                </a:lnTo>
                <a:lnTo>
                  <a:pt x="1678" y="591"/>
                </a:lnTo>
                <a:lnTo>
                  <a:pt x="1647" y="587"/>
                </a:lnTo>
                <a:lnTo>
                  <a:pt x="1619" y="578"/>
                </a:lnTo>
                <a:lnTo>
                  <a:pt x="1607" y="574"/>
                </a:lnTo>
                <a:lnTo>
                  <a:pt x="1607" y="570"/>
                </a:lnTo>
                <a:lnTo>
                  <a:pt x="1611" y="562"/>
                </a:lnTo>
                <a:lnTo>
                  <a:pt x="1619" y="557"/>
                </a:lnTo>
                <a:lnTo>
                  <a:pt x="1634" y="549"/>
                </a:lnTo>
                <a:lnTo>
                  <a:pt x="1592" y="520"/>
                </a:lnTo>
                <a:lnTo>
                  <a:pt x="1584" y="513"/>
                </a:lnTo>
                <a:lnTo>
                  <a:pt x="1580" y="505"/>
                </a:lnTo>
                <a:lnTo>
                  <a:pt x="1572" y="495"/>
                </a:lnTo>
                <a:lnTo>
                  <a:pt x="1572" y="480"/>
                </a:lnTo>
                <a:lnTo>
                  <a:pt x="1569" y="447"/>
                </a:lnTo>
                <a:lnTo>
                  <a:pt x="1557" y="415"/>
                </a:lnTo>
                <a:lnTo>
                  <a:pt x="1538" y="384"/>
                </a:lnTo>
                <a:lnTo>
                  <a:pt x="1523" y="357"/>
                </a:lnTo>
                <a:lnTo>
                  <a:pt x="1515" y="355"/>
                </a:lnTo>
                <a:lnTo>
                  <a:pt x="1505" y="355"/>
                </a:lnTo>
                <a:lnTo>
                  <a:pt x="1498" y="355"/>
                </a:lnTo>
                <a:lnTo>
                  <a:pt x="1486" y="351"/>
                </a:lnTo>
                <a:lnTo>
                  <a:pt x="1471" y="351"/>
                </a:lnTo>
                <a:lnTo>
                  <a:pt x="1459" y="347"/>
                </a:lnTo>
                <a:lnTo>
                  <a:pt x="1448" y="344"/>
                </a:lnTo>
                <a:lnTo>
                  <a:pt x="1436" y="336"/>
                </a:lnTo>
                <a:lnTo>
                  <a:pt x="1429" y="326"/>
                </a:lnTo>
                <a:lnTo>
                  <a:pt x="1421" y="315"/>
                </a:lnTo>
                <a:lnTo>
                  <a:pt x="1417" y="301"/>
                </a:lnTo>
                <a:lnTo>
                  <a:pt x="1413" y="288"/>
                </a:lnTo>
                <a:lnTo>
                  <a:pt x="1417" y="276"/>
                </a:lnTo>
                <a:lnTo>
                  <a:pt x="1421" y="269"/>
                </a:lnTo>
                <a:lnTo>
                  <a:pt x="1425" y="263"/>
                </a:lnTo>
                <a:lnTo>
                  <a:pt x="1429" y="251"/>
                </a:lnTo>
                <a:lnTo>
                  <a:pt x="1425" y="248"/>
                </a:lnTo>
                <a:lnTo>
                  <a:pt x="1421" y="244"/>
                </a:lnTo>
                <a:lnTo>
                  <a:pt x="1409" y="240"/>
                </a:lnTo>
                <a:lnTo>
                  <a:pt x="1394" y="238"/>
                </a:lnTo>
                <a:lnTo>
                  <a:pt x="1390" y="238"/>
                </a:lnTo>
                <a:lnTo>
                  <a:pt x="1386" y="230"/>
                </a:lnTo>
                <a:lnTo>
                  <a:pt x="1390" y="223"/>
                </a:lnTo>
                <a:lnTo>
                  <a:pt x="1394" y="219"/>
                </a:lnTo>
                <a:lnTo>
                  <a:pt x="1409" y="209"/>
                </a:lnTo>
                <a:lnTo>
                  <a:pt x="1421" y="202"/>
                </a:lnTo>
                <a:lnTo>
                  <a:pt x="1425" y="194"/>
                </a:lnTo>
                <a:lnTo>
                  <a:pt x="1429" y="186"/>
                </a:lnTo>
                <a:lnTo>
                  <a:pt x="1425" y="182"/>
                </a:lnTo>
                <a:lnTo>
                  <a:pt x="1421" y="180"/>
                </a:lnTo>
                <a:lnTo>
                  <a:pt x="1409" y="180"/>
                </a:lnTo>
                <a:lnTo>
                  <a:pt x="1398" y="180"/>
                </a:lnTo>
                <a:lnTo>
                  <a:pt x="1390" y="186"/>
                </a:lnTo>
                <a:lnTo>
                  <a:pt x="1384" y="198"/>
                </a:lnTo>
                <a:lnTo>
                  <a:pt x="1381" y="211"/>
                </a:lnTo>
                <a:lnTo>
                  <a:pt x="1373" y="215"/>
                </a:lnTo>
                <a:lnTo>
                  <a:pt x="1369" y="219"/>
                </a:lnTo>
                <a:lnTo>
                  <a:pt x="1319" y="219"/>
                </a:lnTo>
                <a:lnTo>
                  <a:pt x="1304" y="215"/>
                </a:lnTo>
                <a:lnTo>
                  <a:pt x="1300" y="215"/>
                </a:lnTo>
                <a:lnTo>
                  <a:pt x="1296" y="209"/>
                </a:lnTo>
                <a:lnTo>
                  <a:pt x="1300" y="202"/>
                </a:lnTo>
                <a:lnTo>
                  <a:pt x="1308" y="194"/>
                </a:lnTo>
                <a:lnTo>
                  <a:pt x="1327" y="190"/>
                </a:lnTo>
                <a:lnTo>
                  <a:pt x="1304" y="161"/>
                </a:lnTo>
                <a:lnTo>
                  <a:pt x="1292" y="148"/>
                </a:lnTo>
                <a:lnTo>
                  <a:pt x="1288" y="125"/>
                </a:lnTo>
                <a:lnTo>
                  <a:pt x="1277" y="125"/>
                </a:lnTo>
                <a:lnTo>
                  <a:pt x="1269" y="129"/>
                </a:lnTo>
                <a:lnTo>
                  <a:pt x="1262" y="132"/>
                </a:lnTo>
                <a:lnTo>
                  <a:pt x="1260" y="136"/>
                </a:lnTo>
                <a:lnTo>
                  <a:pt x="1248" y="132"/>
                </a:lnTo>
                <a:lnTo>
                  <a:pt x="1237" y="123"/>
                </a:lnTo>
                <a:lnTo>
                  <a:pt x="1225" y="104"/>
                </a:lnTo>
                <a:lnTo>
                  <a:pt x="1214" y="86"/>
                </a:lnTo>
                <a:lnTo>
                  <a:pt x="1194" y="46"/>
                </a:lnTo>
                <a:lnTo>
                  <a:pt x="1187" y="33"/>
                </a:lnTo>
                <a:lnTo>
                  <a:pt x="1175" y="21"/>
                </a:lnTo>
                <a:lnTo>
                  <a:pt x="1179" y="21"/>
                </a:lnTo>
                <a:lnTo>
                  <a:pt x="1171" y="17"/>
                </a:lnTo>
                <a:lnTo>
                  <a:pt x="1160" y="13"/>
                </a:lnTo>
                <a:lnTo>
                  <a:pt x="1152" y="8"/>
                </a:lnTo>
                <a:lnTo>
                  <a:pt x="1152" y="0"/>
                </a:lnTo>
                <a:lnTo>
                  <a:pt x="1148" y="4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27" name="Freeform 472"/>
          <p:cNvSpPr>
            <a:spLocks/>
          </p:cNvSpPr>
          <p:nvPr/>
        </p:nvSpPr>
        <p:spPr bwMode="gray">
          <a:xfrm>
            <a:off x="6662273" y="4200550"/>
            <a:ext cx="363256" cy="444319"/>
          </a:xfrm>
          <a:custGeom>
            <a:avLst/>
            <a:gdLst>
              <a:gd name="T0" fmla="*/ 7 w 943"/>
              <a:gd name="T1" fmla="*/ 273 h 1144"/>
              <a:gd name="T2" fmla="*/ 21 w 943"/>
              <a:gd name="T3" fmla="*/ 251 h 1144"/>
              <a:gd name="T4" fmla="*/ 28 w 943"/>
              <a:gd name="T5" fmla="*/ 235 h 1144"/>
              <a:gd name="T6" fmla="*/ 41 w 943"/>
              <a:gd name="T7" fmla="*/ 214 h 1144"/>
              <a:gd name="T8" fmla="*/ 48 w 943"/>
              <a:gd name="T9" fmla="*/ 203 h 1144"/>
              <a:gd name="T10" fmla="*/ 54 w 943"/>
              <a:gd name="T11" fmla="*/ 192 h 1144"/>
              <a:gd name="T12" fmla="*/ 59 w 943"/>
              <a:gd name="T13" fmla="*/ 187 h 1144"/>
              <a:gd name="T14" fmla="*/ 70 w 943"/>
              <a:gd name="T15" fmla="*/ 175 h 1144"/>
              <a:gd name="T16" fmla="*/ 77 w 943"/>
              <a:gd name="T17" fmla="*/ 165 h 1144"/>
              <a:gd name="T18" fmla="*/ 88 w 943"/>
              <a:gd name="T19" fmla="*/ 153 h 1144"/>
              <a:gd name="T20" fmla="*/ 93 w 943"/>
              <a:gd name="T21" fmla="*/ 144 h 1144"/>
              <a:gd name="T22" fmla="*/ 96 w 943"/>
              <a:gd name="T23" fmla="*/ 133 h 1144"/>
              <a:gd name="T24" fmla="*/ 96 w 943"/>
              <a:gd name="T25" fmla="*/ 118 h 1144"/>
              <a:gd name="T26" fmla="*/ 101 w 943"/>
              <a:gd name="T27" fmla="*/ 97 h 1144"/>
              <a:gd name="T28" fmla="*/ 112 w 943"/>
              <a:gd name="T29" fmla="*/ 71 h 1144"/>
              <a:gd name="T30" fmla="*/ 130 w 943"/>
              <a:gd name="T31" fmla="*/ 46 h 1144"/>
              <a:gd name="T32" fmla="*/ 144 w 943"/>
              <a:gd name="T33" fmla="*/ 33 h 1144"/>
              <a:gd name="T34" fmla="*/ 159 w 943"/>
              <a:gd name="T35" fmla="*/ 24 h 1144"/>
              <a:gd name="T36" fmla="*/ 176 w 943"/>
              <a:gd name="T37" fmla="*/ 13 h 1144"/>
              <a:gd name="T38" fmla="*/ 190 w 943"/>
              <a:gd name="T39" fmla="*/ 4 h 1144"/>
              <a:gd name="T40" fmla="*/ 201 w 943"/>
              <a:gd name="T41" fmla="*/ 1 h 1144"/>
              <a:gd name="T42" fmla="*/ 214 w 943"/>
              <a:gd name="T43" fmla="*/ 1 h 1144"/>
              <a:gd name="T44" fmla="*/ 223 w 943"/>
              <a:gd name="T45" fmla="*/ 3 h 1144"/>
              <a:gd name="T46" fmla="*/ 229 w 943"/>
              <a:gd name="T47" fmla="*/ 7 h 1144"/>
              <a:gd name="T48" fmla="*/ 233 w 943"/>
              <a:gd name="T49" fmla="*/ 15 h 1144"/>
              <a:gd name="T50" fmla="*/ 235 w 943"/>
              <a:gd name="T51" fmla="*/ 20 h 1144"/>
              <a:gd name="T52" fmla="*/ 232 w 943"/>
              <a:gd name="T53" fmla="*/ 26 h 1144"/>
              <a:gd name="T54" fmla="*/ 224 w 943"/>
              <a:gd name="T55" fmla="*/ 39 h 1144"/>
              <a:gd name="T56" fmla="*/ 217 w 943"/>
              <a:gd name="T57" fmla="*/ 50 h 1144"/>
              <a:gd name="T58" fmla="*/ 207 w 943"/>
              <a:gd name="T59" fmla="*/ 55 h 1144"/>
              <a:gd name="T60" fmla="*/ 196 w 943"/>
              <a:gd name="T61" fmla="*/ 57 h 1144"/>
              <a:gd name="T62" fmla="*/ 188 w 943"/>
              <a:gd name="T63" fmla="*/ 62 h 1144"/>
              <a:gd name="T64" fmla="*/ 180 w 943"/>
              <a:gd name="T65" fmla="*/ 74 h 1144"/>
              <a:gd name="T66" fmla="*/ 171 w 943"/>
              <a:gd name="T67" fmla="*/ 83 h 1144"/>
              <a:gd name="T68" fmla="*/ 162 w 943"/>
              <a:gd name="T69" fmla="*/ 88 h 1144"/>
              <a:gd name="T70" fmla="*/ 150 w 943"/>
              <a:gd name="T71" fmla="*/ 88 h 1144"/>
              <a:gd name="T72" fmla="*/ 138 w 943"/>
              <a:gd name="T73" fmla="*/ 91 h 1144"/>
              <a:gd name="T74" fmla="*/ 134 w 943"/>
              <a:gd name="T75" fmla="*/ 96 h 1144"/>
              <a:gd name="T76" fmla="*/ 132 w 943"/>
              <a:gd name="T77" fmla="*/ 101 h 1144"/>
              <a:gd name="T78" fmla="*/ 133 w 943"/>
              <a:gd name="T79" fmla="*/ 104 h 1144"/>
              <a:gd name="T80" fmla="*/ 140 w 943"/>
              <a:gd name="T81" fmla="*/ 110 h 1144"/>
              <a:gd name="T82" fmla="*/ 141 w 943"/>
              <a:gd name="T83" fmla="*/ 112 h 1144"/>
              <a:gd name="T84" fmla="*/ 136 w 943"/>
              <a:gd name="T85" fmla="*/ 122 h 1144"/>
              <a:gd name="T86" fmla="*/ 129 w 943"/>
              <a:gd name="T87" fmla="*/ 129 h 1144"/>
              <a:gd name="T88" fmla="*/ 125 w 943"/>
              <a:gd name="T89" fmla="*/ 129 h 1144"/>
              <a:gd name="T90" fmla="*/ 122 w 943"/>
              <a:gd name="T91" fmla="*/ 126 h 1144"/>
              <a:gd name="T92" fmla="*/ 118 w 943"/>
              <a:gd name="T93" fmla="*/ 126 h 1144"/>
              <a:gd name="T94" fmla="*/ 113 w 943"/>
              <a:gd name="T95" fmla="*/ 138 h 1144"/>
              <a:gd name="T96" fmla="*/ 112 w 943"/>
              <a:gd name="T97" fmla="*/ 155 h 1144"/>
              <a:gd name="T98" fmla="*/ 110 w 943"/>
              <a:gd name="T99" fmla="*/ 187 h 1144"/>
              <a:gd name="T100" fmla="*/ 112 w 943"/>
              <a:gd name="T101" fmla="*/ 196 h 1144"/>
              <a:gd name="T102" fmla="*/ 114 w 943"/>
              <a:gd name="T103" fmla="*/ 204 h 1144"/>
              <a:gd name="T104" fmla="*/ 112 w 943"/>
              <a:gd name="T105" fmla="*/ 217 h 1144"/>
              <a:gd name="T106" fmla="*/ 108 w 943"/>
              <a:gd name="T107" fmla="*/ 231 h 1144"/>
              <a:gd name="T108" fmla="*/ 104 w 943"/>
              <a:gd name="T109" fmla="*/ 234 h 1144"/>
              <a:gd name="T110" fmla="*/ 96 w 943"/>
              <a:gd name="T111" fmla="*/ 239 h 1144"/>
              <a:gd name="T112" fmla="*/ 94 w 943"/>
              <a:gd name="T113" fmla="*/ 244 h 1144"/>
              <a:gd name="T114" fmla="*/ 95 w 943"/>
              <a:gd name="T115" fmla="*/ 248 h 1144"/>
              <a:gd name="T116" fmla="*/ 94 w 943"/>
              <a:gd name="T117" fmla="*/ 251 h 1144"/>
              <a:gd name="T118" fmla="*/ 0 w 943"/>
              <a:gd name="T119" fmla="*/ 285 h 1144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943"/>
              <a:gd name="T181" fmla="*/ 0 h 1144"/>
              <a:gd name="T182" fmla="*/ 943 w 943"/>
              <a:gd name="T183" fmla="*/ 1144 h 1144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943" h="1144">
                <a:moveTo>
                  <a:pt x="0" y="1144"/>
                </a:moveTo>
                <a:lnTo>
                  <a:pt x="31" y="1094"/>
                </a:lnTo>
                <a:lnTo>
                  <a:pt x="58" y="1046"/>
                </a:lnTo>
                <a:lnTo>
                  <a:pt x="85" y="1008"/>
                </a:lnTo>
                <a:lnTo>
                  <a:pt x="96" y="979"/>
                </a:lnTo>
                <a:lnTo>
                  <a:pt x="112" y="942"/>
                </a:lnTo>
                <a:lnTo>
                  <a:pt x="129" y="910"/>
                </a:lnTo>
                <a:lnTo>
                  <a:pt x="167" y="860"/>
                </a:lnTo>
                <a:lnTo>
                  <a:pt x="183" y="839"/>
                </a:lnTo>
                <a:lnTo>
                  <a:pt x="194" y="816"/>
                </a:lnTo>
                <a:lnTo>
                  <a:pt x="202" y="791"/>
                </a:lnTo>
                <a:lnTo>
                  <a:pt x="217" y="770"/>
                </a:lnTo>
                <a:lnTo>
                  <a:pt x="225" y="760"/>
                </a:lnTo>
                <a:lnTo>
                  <a:pt x="236" y="749"/>
                </a:lnTo>
                <a:lnTo>
                  <a:pt x="261" y="727"/>
                </a:lnTo>
                <a:lnTo>
                  <a:pt x="281" y="704"/>
                </a:lnTo>
                <a:lnTo>
                  <a:pt x="300" y="676"/>
                </a:lnTo>
                <a:lnTo>
                  <a:pt x="311" y="662"/>
                </a:lnTo>
                <a:lnTo>
                  <a:pt x="323" y="645"/>
                </a:lnTo>
                <a:lnTo>
                  <a:pt x="353" y="616"/>
                </a:lnTo>
                <a:lnTo>
                  <a:pt x="365" y="597"/>
                </a:lnTo>
                <a:lnTo>
                  <a:pt x="373" y="580"/>
                </a:lnTo>
                <a:lnTo>
                  <a:pt x="380" y="559"/>
                </a:lnTo>
                <a:lnTo>
                  <a:pt x="384" y="532"/>
                </a:lnTo>
                <a:lnTo>
                  <a:pt x="384" y="493"/>
                </a:lnTo>
                <a:lnTo>
                  <a:pt x="384" y="472"/>
                </a:lnTo>
                <a:lnTo>
                  <a:pt x="386" y="445"/>
                </a:lnTo>
                <a:lnTo>
                  <a:pt x="405" y="390"/>
                </a:lnTo>
                <a:lnTo>
                  <a:pt x="425" y="332"/>
                </a:lnTo>
                <a:lnTo>
                  <a:pt x="448" y="284"/>
                </a:lnTo>
                <a:lnTo>
                  <a:pt x="497" y="217"/>
                </a:lnTo>
                <a:lnTo>
                  <a:pt x="522" y="184"/>
                </a:lnTo>
                <a:lnTo>
                  <a:pt x="549" y="155"/>
                </a:lnTo>
                <a:lnTo>
                  <a:pt x="576" y="132"/>
                </a:lnTo>
                <a:lnTo>
                  <a:pt x="607" y="115"/>
                </a:lnTo>
                <a:lnTo>
                  <a:pt x="639" y="98"/>
                </a:lnTo>
                <a:lnTo>
                  <a:pt x="670" y="79"/>
                </a:lnTo>
                <a:lnTo>
                  <a:pt x="705" y="54"/>
                </a:lnTo>
                <a:lnTo>
                  <a:pt x="739" y="29"/>
                </a:lnTo>
                <a:lnTo>
                  <a:pt x="762" y="19"/>
                </a:lnTo>
                <a:lnTo>
                  <a:pt x="783" y="8"/>
                </a:lnTo>
                <a:lnTo>
                  <a:pt x="806" y="4"/>
                </a:lnTo>
                <a:lnTo>
                  <a:pt x="837" y="0"/>
                </a:lnTo>
                <a:lnTo>
                  <a:pt x="856" y="4"/>
                </a:lnTo>
                <a:lnTo>
                  <a:pt x="876" y="8"/>
                </a:lnTo>
                <a:lnTo>
                  <a:pt x="895" y="12"/>
                </a:lnTo>
                <a:lnTo>
                  <a:pt x="908" y="12"/>
                </a:lnTo>
                <a:lnTo>
                  <a:pt x="916" y="29"/>
                </a:lnTo>
                <a:lnTo>
                  <a:pt x="927" y="48"/>
                </a:lnTo>
                <a:lnTo>
                  <a:pt x="935" y="61"/>
                </a:lnTo>
                <a:lnTo>
                  <a:pt x="939" y="73"/>
                </a:lnTo>
                <a:lnTo>
                  <a:pt x="943" y="83"/>
                </a:lnTo>
                <a:lnTo>
                  <a:pt x="939" y="98"/>
                </a:lnTo>
                <a:lnTo>
                  <a:pt x="931" y="107"/>
                </a:lnTo>
                <a:lnTo>
                  <a:pt x="916" y="127"/>
                </a:lnTo>
                <a:lnTo>
                  <a:pt x="897" y="159"/>
                </a:lnTo>
                <a:lnTo>
                  <a:pt x="879" y="190"/>
                </a:lnTo>
                <a:lnTo>
                  <a:pt x="868" y="202"/>
                </a:lnTo>
                <a:lnTo>
                  <a:pt x="853" y="217"/>
                </a:lnTo>
                <a:lnTo>
                  <a:pt x="830" y="223"/>
                </a:lnTo>
                <a:lnTo>
                  <a:pt x="803" y="226"/>
                </a:lnTo>
                <a:lnTo>
                  <a:pt x="787" y="230"/>
                </a:lnTo>
                <a:lnTo>
                  <a:pt x="776" y="238"/>
                </a:lnTo>
                <a:lnTo>
                  <a:pt x="755" y="251"/>
                </a:lnTo>
                <a:lnTo>
                  <a:pt x="735" y="274"/>
                </a:lnTo>
                <a:lnTo>
                  <a:pt x="720" y="296"/>
                </a:lnTo>
                <a:lnTo>
                  <a:pt x="705" y="317"/>
                </a:lnTo>
                <a:lnTo>
                  <a:pt x="686" y="334"/>
                </a:lnTo>
                <a:lnTo>
                  <a:pt x="666" y="349"/>
                </a:lnTo>
                <a:lnTo>
                  <a:pt x="651" y="353"/>
                </a:lnTo>
                <a:lnTo>
                  <a:pt x="639" y="353"/>
                </a:lnTo>
                <a:lnTo>
                  <a:pt x="603" y="353"/>
                </a:lnTo>
                <a:lnTo>
                  <a:pt x="580" y="357"/>
                </a:lnTo>
                <a:lnTo>
                  <a:pt x="553" y="367"/>
                </a:lnTo>
                <a:lnTo>
                  <a:pt x="545" y="378"/>
                </a:lnTo>
                <a:lnTo>
                  <a:pt x="538" y="386"/>
                </a:lnTo>
                <a:lnTo>
                  <a:pt x="530" y="395"/>
                </a:lnTo>
                <a:lnTo>
                  <a:pt x="530" y="407"/>
                </a:lnTo>
                <a:lnTo>
                  <a:pt x="530" y="411"/>
                </a:lnTo>
                <a:lnTo>
                  <a:pt x="534" y="418"/>
                </a:lnTo>
                <a:lnTo>
                  <a:pt x="549" y="428"/>
                </a:lnTo>
                <a:lnTo>
                  <a:pt x="561" y="440"/>
                </a:lnTo>
                <a:lnTo>
                  <a:pt x="565" y="445"/>
                </a:lnTo>
                <a:lnTo>
                  <a:pt x="565" y="449"/>
                </a:lnTo>
                <a:lnTo>
                  <a:pt x="561" y="468"/>
                </a:lnTo>
                <a:lnTo>
                  <a:pt x="545" y="489"/>
                </a:lnTo>
                <a:lnTo>
                  <a:pt x="526" y="511"/>
                </a:lnTo>
                <a:lnTo>
                  <a:pt x="519" y="518"/>
                </a:lnTo>
                <a:lnTo>
                  <a:pt x="511" y="522"/>
                </a:lnTo>
                <a:lnTo>
                  <a:pt x="501" y="518"/>
                </a:lnTo>
                <a:lnTo>
                  <a:pt x="494" y="511"/>
                </a:lnTo>
                <a:lnTo>
                  <a:pt x="490" y="507"/>
                </a:lnTo>
                <a:lnTo>
                  <a:pt x="478" y="503"/>
                </a:lnTo>
                <a:lnTo>
                  <a:pt x="474" y="507"/>
                </a:lnTo>
                <a:lnTo>
                  <a:pt x="467" y="518"/>
                </a:lnTo>
                <a:lnTo>
                  <a:pt x="455" y="555"/>
                </a:lnTo>
                <a:lnTo>
                  <a:pt x="448" y="593"/>
                </a:lnTo>
                <a:lnTo>
                  <a:pt x="448" y="622"/>
                </a:lnTo>
                <a:lnTo>
                  <a:pt x="444" y="691"/>
                </a:lnTo>
                <a:lnTo>
                  <a:pt x="440" y="752"/>
                </a:lnTo>
                <a:lnTo>
                  <a:pt x="444" y="774"/>
                </a:lnTo>
                <a:lnTo>
                  <a:pt x="451" y="787"/>
                </a:lnTo>
                <a:lnTo>
                  <a:pt x="455" y="802"/>
                </a:lnTo>
                <a:lnTo>
                  <a:pt x="459" y="820"/>
                </a:lnTo>
                <a:lnTo>
                  <a:pt x="459" y="845"/>
                </a:lnTo>
                <a:lnTo>
                  <a:pt x="451" y="871"/>
                </a:lnTo>
                <a:lnTo>
                  <a:pt x="444" y="900"/>
                </a:lnTo>
                <a:lnTo>
                  <a:pt x="432" y="925"/>
                </a:lnTo>
                <a:lnTo>
                  <a:pt x="428" y="931"/>
                </a:lnTo>
                <a:lnTo>
                  <a:pt x="417" y="939"/>
                </a:lnTo>
                <a:lnTo>
                  <a:pt x="398" y="950"/>
                </a:lnTo>
                <a:lnTo>
                  <a:pt x="384" y="960"/>
                </a:lnTo>
                <a:lnTo>
                  <a:pt x="380" y="967"/>
                </a:lnTo>
                <a:lnTo>
                  <a:pt x="377" y="979"/>
                </a:lnTo>
                <a:lnTo>
                  <a:pt x="377" y="992"/>
                </a:lnTo>
                <a:lnTo>
                  <a:pt x="380" y="996"/>
                </a:lnTo>
                <a:lnTo>
                  <a:pt x="380" y="1000"/>
                </a:lnTo>
                <a:lnTo>
                  <a:pt x="377" y="1008"/>
                </a:lnTo>
                <a:lnTo>
                  <a:pt x="0" y="1140"/>
                </a:lnTo>
                <a:lnTo>
                  <a:pt x="0" y="1144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28" name="Freeform 473"/>
          <p:cNvSpPr>
            <a:spLocks/>
          </p:cNvSpPr>
          <p:nvPr/>
        </p:nvSpPr>
        <p:spPr bwMode="gray">
          <a:xfrm>
            <a:off x="6965374" y="4126626"/>
            <a:ext cx="143451" cy="38129"/>
          </a:xfrm>
          <a:custGeom>
            <a:avLst/>
            <a:gdLst>
              <a:gd name="T0" fmla="*/ 38 w 373"/>
              <a:gd name="T1" fmla="*/ 0 h 98"/>
              <a:gd name="T2" fmla="*/ 80 w 373"/>
              <a:gd name="T3" fmla="*/ 0 h 98"/>
              <a:gd name="T4" fmla="*/ 84 w 373"/>
              <a:gd name="T5" fmla="*/ 0 h 98"/>
              <a:gd name="T6" fmla="*/ 87 w 373"/>
              <a:gd name="T7" fmla="*/ 1 h 98"/>
              <a:gd name="T8" fmla="*/ 93 w 373"/>
              <a:gd name="T9" fmla="*/ 5 h 98"/>
              <a:gd name="T10" fmla="*/ 90 w 373"/>
              <a:gd name="T11" fmla="*/ 9 h 98"/>
              <a:gd name="T12" fmla="*/ 85 w 373"/>
              <a:gd name="T13" fmla="*/ 13 h 98"/>
              <a:gd name="T14" fmla="*/ 79 w 373"/>
              <a:gd name="T15" fmla="*/ 17 h 98"/>
              <a:gd name="T16" fmla="*/ 73 w 373"/>
              <a:gd name="T17" fmla="*/ 20 h 98"/>
              <a:gd name="T18" fmla="*/ 66 w 373"/>
              <a:gd name="T19" fmla="*/ 21 h 98"/>
              <a:gd name="T20" fmla="*/ 59 w 373"/>
              <a:gd name="T21" fmla="*/ 23 h 98"/>
              <a:gd name="T22" fmla="*/ 53 w 373"/>
              <a:gd name="T23" fmla="*/ 25 h 98"/>
              <a:gd name="T24" fmla="*/ 47 w 373"/>
              <a:gd name="T25" fmla="*/ 25 h 98"/>
              <a:gd name="T26" fmla="*/ 43 w 373"/>
              <a:gd name="T27" fmla="*/ 25 h 98"/>
              <a:gd name="T28" fmla="*/ 40 w 373"/>
              <a:gd name="T29" fmla="*/ 24 h 98"/>
              <a:gd name="T30" fmla="*/ 34 w 373"/>
              <a:gd name="T31" fmla="*/ 21 h 98"/>
              <a:gd name="T32" fmla="*/ 27 w 373"/>
              <a:gd name="T33" fmla="*/ 18 h 98"/>
              <a:gd name="T34" fmla="*/ 24 w 373"/>
              <a:gd name="T35" fmla="*/ 17 h 98"/>
              <a:gd name="T36" fmla="*/ 20 w 373"/>
              <a:gd name="T37" fmla="*/ 17 h 98"/>
              <a:gd name="T38" fmla="*/ 16 w 373"/>
              <a:gd name="T39" fmla="*/ 17 h 98"/>
              <a:gd name="T40" fmla="*/ 11 w 373"/>
              <a:gd name="T41" fmla="*/ 18 h 98"/>
              <a:gd name="T42" fmla="*/ 7 w 373"/>
              <a:gd name="T43" fmla="*/ 20 h 98"/>
              <a:gd name="T44" fmla="*/ 4 w 373"/>
              <a:gd name="T45" fmla="*/ 20 h 98"/>
              <a:gd name="T46" fmla="*/ 1 w 373"/>
              <a:gd name="T47" fmla="*/ 19 h 98"/>
              <a:gd name="T48" fmla="*/ 0 w 373"/>
              <a:gd name="T49" fmla="*/ 19 h 98"/>
              <a:gd name="T50" fmla="*/ 0 w 373"/>
              <a:gd name="T51" fmla="*/ 18 h 98"/>
              <a:gd name="T52" fmla="*/ 1 w 373"/>
              <a:gd name="T53" fmla="*/ 15 h 98"/>
              <a:gd name="T54" fmla="*/ 3 w 373"/>
              <a:gd name="T55" fmla="*/ 12 h 98"/>
              <a:gd name="T56" fmla="*/ 5 w 373"/>
              <a:gd name="T57" fmla="*/ 10 h 98"/>
              <a:gd name="T58" fmla="*/ 10 w 373"/>
              <a:gd name="T59" fmla="*/ 9 h 98"/>
              <a:gd name="T60" fmla="*/ 18 w 373"/>
              <a:gd name="T61" fmla="*/ 7 h 98"/>
              <a:gd name="T62" fmla="*/ 28 w 373"/>
              <a:gd name="T63" fmla="*/ 3 h 98"/>
              <a:gd name="T64" fmla="*/ 38 w 373"/>
              <a:gd name="T65" fmla="*/ 0 h 98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373"/>
              <a:gd name="T100" fmla="*/ 0 h 98"/>
              <a:gd name="T101" fmla="*/ 373 w 373"/>
              <a:gd name="T102" fmla="*/ 98 h 98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373" h="98">
                <a:moveTo>
                  <a:pt x="152" y="0"/>
                </a:moveTo>
                <a:lnTo>
                  <a:pt x="323" y="0"/>
                </a:lnTo>
                <a:lnTo>
                  <a:pt x="338" y="0"/>
                </a:lnTo>
                <a:lnTo>
                  <a:pt x="350" y="4"/>
                </a:lnTo>
                <a:lnTo>
                  <a:pt x="373" y="19"/>
                </a:lnTo>
                <a:lnTo>
                  <a:pt x="361" y="36"/>
                </a:lnTo>
                <a:lnTo>
                  <a:pt x="342" y="52"/>
                </a:lnTo>
                <a:lnTo>
                  <a:pt x="319" y="65"/>
                </a:lnTo>
                <a:lnTo>
                  <a:pt x="292" y="77"/>
                </a:lnTo>
                <a:lnTo>
                  <a:pt x="265" y="84"/>
                </a:lnTo>
                <a:lnTo>
                  <a:pt x="238" y="92"/>
                </a:lnTo>
                <a:lnTo>
                  <a:pt x="213" y="98"/>
                </a:lnTo>
                <a:lnTo>
                  <a:pt x="190" y="98"/>
                </a:lnTo>
                <a:lnTo>
                  <a:pt x="175" y="98"/>
                </a:lnTo>
                <a:lnTo>
                  <a:pt x="160" y="94"/>
                </a:lnTo>
                <a:lnTo>
                  <a:pt x="137" y="81"/>
                </a:lnTo>
                <a:lnTo>
                  <a:pt x="110" y="69"/>
                </a:lnTo>
                <a:lnTo>
                  <a:pt x="98" y="65"/>
                </a:lnTo>
                <a:lnTo>
                  <a:pt x="83" y="65"/>
                </a:lnTo>
                <a:lnTo>
                  <a:pt x="64" y="65"/>
                </a:lnTo>
                <a:lnTo>
                  <a:pt x="46" y="69"/>
                </a:lnTo>
                <a:lnTo>
                  <a:pt x="31" y="77"/>
                </a:lnTo>
                <a:lnTo>
                  <a:pt x="16" y="77"/>
                </a:lnTo>
                <a:lnTo>
                  <a:pt x="4" y="73"/>
                </a:lnTo>
                <a:lnTo>
                  <a:pt x="0" y="73"/>
                </a:lnTo>
                <a:lnTo>
                  <a:pt x="0" y="69"/>
                </a:lnTo>
                <a:lnTo>
                  <a:pt x="4" y="61"/>
                </a:lnTo>
                <a:lnTo>
                  <a:pt x="12" y="48"/>
                </a:lnTo>
                <a:lnTo>
                  <a:pt x="23" y="40"/>
                </a:lnTo>
                <a:lnTo>
                  <a:pt x="43" y="33"/>
                </a:lnTo>
                <a:lnTo>
                  <a:pt x="75" y="29"/>
                </a:lnTo>
                <a:lnTo>
                  <a:pt x="114" y="15"/>
                </a:lnTo>
                <a:lnTo>
                  <a:pt x="152" y="0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29" name="Freeform 474"/>
          <p:cNvSpPr>
            <a:spLocks/>
          </p:cNvSpPr>
          <p:nvPr/>
        </p:nvSpPr>
        <p:spPr bwMode="gray">
          <a:xfrm>
            <a:off x="6474090" y="3586597"/>
            <a:ext cx="14654" cy="24123"/>
          </a:xfrm>
          <a:custGeom>
            <a:avLst/>
            <a:gdLst>
              <a:gd name="T0" fmla="*/ 0 w 38"/>
              <a:gd name="T1" fmla="*/ 7 h 64"/>
              <a:gd name="T2" fmla="*/ 0 w 38"/>
              <a:gd name="T3" fmla="*/ 13 h 64"/>
              <a:gd name="T4" fmla="*/ 1 w 38"/>
              <a:gd name="T5" fmla="*/ 15 h 64"/>
              <a:gd name="T6" fmla="*/ 2 w 38"/>
              <a:gd name="T7" fmla="*/ 15 h 64"/>
              <a:gd name="T8" fmla="*/ 5 w 38"/>
              <a:gd name="T9" fmla="*/ 15 h 64"/>
              <a:gd name="T10" fmla="*/ 7 w 38"/>
              <a:gd name="T11" fmla="*/ 12 h 64"/>
              <a:gd name="T12" fmla="*/ 10 w 38"/>
              <a:gd name="T13" fmla="*/ 9 h 64"/>
              <a:gd name="T14" fmla="*/ 10 w 38"/>
              <a:gd name="T15" fmla="*/ 3 h 64"/>
              <a:gd name="T16" fmla="*/ 7 w 38"/>
              <a:gd name="T17" fmla="*/ 3 h 64"/>
              <a:gd name="T18" fmla="*/ 6 w 38"/>
              <a:gd name="T19" fmla="*/ 2 h 64"/>
              <a:gd name="T20" fmla="*/ 5 w 38"/>
              <a:gd name="T21" fmla="*/ 0 h 64"/>
              <a:gd name="T22" fmla="*/ 2 w 38"/>
              <a:gd name="T23" fmla="*/ 1 h 64"/>
              <a:gd name="T24" fmla="*/ 1 w 38"/>
              <a:gd name="T25" fmla="*/ 3 h 64"/>
              <a:gd name="T26" fmla="*/ 0 w 38"/>
              <a:gd name="T27" fmla="*/ 5 h 64"/>
              <a:gd name="T28" fmla="*/ 0 w 38"/>
              <a:gd name="T29" fmla="*/ 7 h 6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38"/>
              <a:gd name="T46" fmla="*/ 0 h 64"/>
              <a:gd name="T47" fmla="*/ 38 w 38"/>
              <a:gd name="T48" fmla="*/ 64 h 64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38" h="64">
                <a:moveTo>
                  <a:pt x="0" y="29"/>
                </a:moveTo>
                <a:lnTo>
                  <a:pt x="0" y="54"/>
                </a:lnTo>
                <a:lnTo>
                  <a:pt x="4" y="62"/>
                </a:lnTo>
                <a:lnTo>
                  <a:pt x="11" y="64"/>
                </a:lnTo>
                <a:lnTo>
                  <a:pt x="23" y="62"/>
                </a:lnTo>
                <a:lnTo>
                  <a:pt x="30" y="50"/>
                </a:lnTo>
                <a:lnTo>
                  <a:pt x="38" y="37"/>
                </a:lnTo>
                <a:lnTo>
                  <a:pt x="38" y="12"/>
                </a:lnTo>
                <a:lnTo>
                  <a:pt x="30" y="12"/>
                </a:lnTo>
                <a:lnTo>
                  <a:pt x="27" y="8"/>
                </a:lnTo>
                <a:lnTo>
                  <a:pt x="19" y="0"/>
                </a:lnTo>
                <a:lnTo>
                  <a:pt x="11" y="4"/>
                </a:lnTo>
                <a:lnTo>
                  <a:pt x="4" y="12"/>
                </a:lnTo>
                <a:lnTo>
                  <a:pt x="0" y="21"/>
                </a:lnTo>
                <a:lnTo>
                  <a:pt x="0" y="29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30" name="Freeform 476"/>
          <p:cNvSpPr>
            <a:spLocks/>
          </p:cNvSpPr>
          <p:nvPr/>
        </p:nvSpPr>
        <p:spPr bwMode="gray">
          <a:xfrm>
            <a:off x="4940855" y="3112708"/>
            <a:ext cx="991820" cy="764134"/>
          </a:xfrm>
          <a:custGeom>
            <a:avLst/>
            <a:gdLst>
              <a:gd name="T0" fmla="*/ 451 w 2572"/>
              <a:gd name="T1" fmla="*/ 485 h 1964"/>
              <a:gd name="T2" fmla="*/ 457 w 2572"/>
              <a:gd name="T3" fmla="*/ 438 h 1964"/>
              <a:gd name="T4" fmla="*/ 471 w 2572"/>
              <a:gd name="T5" fmla="*/ 405 h 1964"/>
              <a:gd name="T6" fmla="*/ 488 w 2572"/>
              <a:gd name="T7" fmla="*/ 368 h 1964"/>
              <a:gd name="T8" fmla="*/ 515 w 2572"/>
              <a:gd name="T9" fmla="*/ 353 h 1964"/>
              <a:gd name="T10" fmla="*/ 511 w 2572"/>
              <a:gd name="T11" fmla="*/ 331 h 1964"/>
              <a:gd name="T12" fmla="*/ 528 w 2572"/>
              <a:gd name="T13" fmla="*/ 310 h 1964"/>
              <a:gd name="T14" fmla="*/ 555 w 2572"/>
              <a:gd name="T15" fmla="*/ 296 h 1964"/>
              <a:gd name="T16" fmla="*/ 568 w 2572"/>
              <a:gd name="T17" fmla="*/ 254 h 1964"/>
              <a:gd name="T18" fmla="*/ 573 w 2572"/>
              <a:gd name="T19" fmla="*/ 223 h 1964"/>
              <a:gd name="T20" fmla="*/ 561 w 2572"/>
              <a:gd name="T21" fmla="*/ 200 h 1964"/>
              <a:gd name="T22" fmla="*/ 582 w 2572"/>
              <a:gd name="T23" fmla="*/ 202 h 1964"/>
              <a:gd name="T24" fmla="*/ 613 w 2572"/>
              <a:gd name="T25" fmla="*/ 200 h 1964"/>
              <a:gd name="T26" fmla="*/ 616 w 2572"/>
              <a:gd name="T27" fmla="*/ 187 h 1964"/>
              <a:gd name="T28" fmla="*/ 632 w 2572"/>
              <a:gd name="T29" fmla="*/ 178 h 1964"/>
              <a:gd name="T30" fmla="*/ 638 w 2572"/>
              <a:gd name="T31" fmla="*/ 136 h 1964"/>
              <a:gd name="T32" fmla="*/ 613 w 2572"/>
              <a:gd name="T33" fmla="*/ 108 h 1964"/>
              <a:gd name="T34" fmla="*/ 620 w 2572"/>
              <a:gd name="T35" fmla="*/ 86 h 1964"/>
              <a:gd name="T36" fmla="*/ 617 w 2572"/>
              <a:gd name="T37" fmla="*/ 70 h 1964"/>
              <a:gd name="T38" fmla="*/ 589 w 2572"/>
              <a:gd name="T39" fmla="*/ 53 h 1964"/>
              <a:gd name="T40" fmla="*/ 553 w 2572"/>
              <a:gd name="T41" fmla="*/ 60 h 1964"/>
              <a:gd name="T42" fmla="*/ 559 w 2572"/>
              <a:gd name="T43" fmla="*/ 93 h 1964"/>
              <a:gd name="T44" fmla="*/ 554 w 2572"/>
              <a:gd name="T45" fmla="*/ 148 h 1964"/>
              <a:gd name="T46" fmla="*/ 545 w 2572"/>
              <a:gd name="T47" fmla="*/ 169 h 1964"/>
              <a:gd name="T48" fmla="*/ 520 w 2572"/>
              <a:gd name="T49" fmla="*/ 139 h 1964"/>
              <a:gd name="T50" fmla="*/ 515 w 2572"/>
              <a:gd name="T51" fmla="*/ 107 h 1964"/>
              <a:gd name="T52" fmla="*/ 489 w 2572"/>
              <a:gd name="T53" fmla="*/ 108 h 1964"/>
              <a:gd name="T54" fmla="*/ 488 w 2572"/>
              <a:gd name="T55" fmla="*/ 134 h 1964"/>
              <a:gd name="T56" fmla="*/ 477 w 2572"/>
              <a:gd name="T57" fmla="*/ 100 h 1964"/>
              <a:gd name="T58" fmla="*/ 457 w 2572"/>
              <a:gd name="T59" fmla="*/ 86 h 1964"/>
              <a:gd name="T60" fmla="*/ 444 w 2572"/>
              <a:gd name="T61" fmla="*/ 78 h 1964"/>
              <a:gd name="T62" fmla="*/ 449 w 2572"/>
              <a:gd name="T63" fmla="*/ 53 h 1964"/>
              <a:gd name="T64" fmla="*/ 416 w 2572"/>
              <a:gd name="T65" fmla="*/ 7 h 1964"/>
              <a:gd name="T66" fmla="*/ 381 w 2572"/>
              <a:gd name="T67" fmla="*/ 26 h 1964"/>
              <a:gd name="T68" fmla="*/ 388 w 2572"/>
              <a:gd name="T69" fmla="*/ 57 h 1964"/>
              <a:gd name="T70" fmla="*/ 396 w 2572"/>
              <a:gd name="T71" fmla="*/ 87 h 1964"/>
              <a:gd name="T72" fmla="*/ 435 w 2572"/>
              <a:gd name="T73" fmla="*/ 106 h 1964"/>
              <a:gd name="T74" fmla="*/ 430 w 2572"/>
              <a:gd name="T75" fmla="*/ 135 h 1964"/>
              <a:gd name="T76" fmla="*/ 405 w 2572"/>
              <a:gd name="T77" fmla="*/ 164 h 1964"/>
              <a:gd name="T78" fmla="*/ 411 w 2572"/>
              <a:gd name="T79" fmla="*/ 182 h 1964"/>
              <a:gd name="T80" fmla="*/ 396 w 2572"/>
              <a:gd name="T81" fmla="*/ 176 h 1964"/>
              <a:gd name="T82" fmla="*/ 390 w 2572"/>
              <a:gd name="T83" fmla="*/ 155 h 1964"/>
              <a:gd name="T84" fmla="*/ 372 w 2572"/>
              <a:gd name="T85" fmla="*/ 140 h 1964"/>
              <a:gd name="T86" fmla="*/ 358 w 2572"/>
              <a:gd name="T87" fmla="*/ 154 h 1964"/>
              <a:gd name="T88" fmla="*/ 345 w 2572"/>
              <a:gd name="T89" fmla="*/ 172 h 1964"/>
              <a:gd name="T90" fmla="*/ 305 w 2572"/>
              <a:gd name="T91" fmla="*/ 174 h 1964"/>
              <a:gd name="T92" fmla="*/ 273 w 2572"/>
              <a:gd name="T93" fmla="*/ 158 h 1964"/>
              <a:gd name="T94" fmla="*/ 246 w 2572"/>
              <a:gd name="T95" fmla="*/ 123 h 1964"/>
              <a:gd name="T96" fmla="*/ 221 w 2572"/>
              <a:gd name="T97" fmla="*/ 126 h 1964"/>
              <a:gd name="T98" fmla="*/ 205 w 2572"/>
              <a:gd name="T99" fmla="*/ 146 h 1964"/>
              <a:gd name="T100" fmla="*/ 248 w 2572"/>
              <a:gd name="T101" fmla="*/ 132 h 1964"/>
              <a:gd name="T102" fmla="*/ 231 w 2572"/>
              <a:gd name="T103" fmla="*/ 149 h 1964"/>
              <a:gd name="T104" fmla="*/ 207 w 2572"/>
              <a:gd name="T105" fmla="*/ 162 h 1964"/>
              <a:gd name="T106" fmla="*/ 206 w 2572"/>
              <a:gd name="T107" fmla="*/ 180 h 1964"/>
              <a:gd name="T108" fmla="*/ 180 w 2572"/>
              <a:gd name="T109" fmla="*/ 157 h 1964"/>
              <a:gd name="T110" fmla="*/ 148 w 2572"/>
              <a:gd name="T111" fmla="*/ 154 h 1964"/>
              <a:gd name="T112" fmla="*/ 91 w 2572"/>
              <a:gd name="T113" fmla="*/ 140 h 1964"/>
              <a:gd name="T114" fmla="*/ 114 w 2572"/>
              <a:gd name="T115" fmla="*/ 125 h 1964"/>
              <a:gd name="T116" fmla="*/ 100 w 2572"/>
              <a:gd name="T117" fmla="*/ 95 h 1964"/>
              <a:gd name="T118" fmla="*/ 76 w 2572"/>
              <a:gd name="T119" fmla="*/ 91 h 1964"/>
              <a:gd name="T120" fmla="*/ 40 w 2572"/>
              <a:gd name="T121" fmla="*/ 62 h 1964"/>
              <a:gd name="T122" fmla="*/ 161 w 2572"/>
              <a:gd name="T123" fmla="*/ 279 h 1964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572"/>
              <a:gd name="T187" fmla="*/ 0 h 1964"/>
              <a:gd name="T188" fmla="*/ 2572 w 2572"/>
              <a:gd name="T189" fmla="*/ 1964 h 1964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572" h="1964">
                <a:moveTo>
                  <a:pt x="1193" y="1960"/>
                </a:moveTo>
                <a:lnTo>
                  <a:pt x="1251" y="1964"/>
                </a:lnTo>
                <a:lnTo>
                  <a:pt x="1399" y="1964"/>
                </a:lnTo>
                <a:lnTo>
                  <a:pt x="1595" y="1960"/>
                </a:lnTo>
                <a:lnTo>
                  <a:pt x="1700" y="1952"/>
                </a:lnTo>
                <a:lnTo>
                  <a:pt x="1798" y="1945"/>
                </a:lnTo>
                <a:lnTo>
                  <a:pt x="1802" y="1945"/>
                </a:lnTo>
                <a:lnTo>
                  <a:pt x="1806" y="1939"/>
                </a:lnTo>
                <a:lnTo>
                  <a:pt x="1806" y="1941"/>
                </a:lnTo>
                <a:lnTo>
                  <a:pt x="1798" y="1924"/>
                </a:lnTo>
                <a:lnTo>
                  <a:pt x="1798" y="1910"/>
                </a:lnTo>
                <a:lnTo>
                  <a:pt x="1802" y="1895"/>
                </a:lnTo>
                <a:lnTo>
                  <a:pt x="1806" y="1870"/>
                </a:lnTo>
                <a:lnTo>
                  <a:pt x="1810" y="1830"/>
                </a:lnTo>
                <a:lnTo>
                  <a:pt x="1817" y="1791"/>
                </a:lnTo>
                <a:lnTo>
                  <a:pt x="1829" y="1751"/>
                </a:lnTo>
                <a:lnTo>
                  <a:pt x="1844" y="1714"/>
                </a:lnTo>
                <a:lnTo>
                  <a:pt x="1856" y="1697"/>
                </a:lnTo>
                <a:lnTo>
                  <a:pt x="1867" y="1682"/>
                </a:lnTo>
                <a:lnTo>
                  <a:pt x="1875" y="1676"/>
                </a:lnTo>
                <a:lnTo>
                  <a:pt x="1879" y="1664"/>
                </a:lnTo>
                <a:lnTo>
                  <a:pt x="1883" y="1651"/>
                </a:lnTo>
                <a:lnTo>
                  <a:pt x="1883" y="1632"/>
                </a:lnTo>
                <a:lnTo>
                  <a:pt x="1886" y="1618"/>
                </a:lnTo>
                <a:lnTo>
                  <a:pt x="1894" y="1603"/>
                </a:lnTo>
                <a:lnTo>
                  <a:pt x="1911" y="1567"/>
                </a:lnTo>
                <a:lnTo>
                  <a:pt x="1934" y="1536"/>
                </a:lnTo>
                <a:lnTo>
                  <a:pt x="1954" y="1509"/>
                </a:lnTo>
                <a:lnTo>
                  <a:pt x="1954" y="1496"/>
                </a:lnTo>
                <a:lnTo>
                  <a:pt x="1954" y="1484"/>
                </a:lnTo>
                <a:lnTo>
                  <a:pt x="1954" y="1474"/>
                </a:lnTo>
                <a:lnTo>
                  <a:pt x="1954" y="1471"/>
                </a:lnTo>
                <a:lnTo>
                  <a:pt x="1957" y="1467"/>
                </a:lnTo>
                <a:lnTo>
                  <a:pt x="1973" y="1463"/>
                </a:lnTo>
                <a:lnTo>
                  <a:pt x="1988" y="1463"/>
                </a:lnTo>
                <a:lnTo>
                  <a:pt x="2011" y="1463"/>
                </a:lnTo>
                <a:lnTo>
                  <a:pt x="2027" y="1451"/>
                </a:lnTo>
                <a:lnTo>
                  <a:pt x="2044" y="1438"/>
                </a:lnTo>
                <a:lnTo>
                  <a:pt x="2055" y="1421"/>
                </a:lnTo>
                <a:lnTo>
                  <a:pt x="2059" y="1409"/>
                </a:lnTo>
                <a:lnTo>
                  <a:pt x="2063" y="1396"/>
                </a:lnTo>
                <a:lnTo>
                  <a:pt x="2059" y="1390"/>
                </a:lnTo>
                <a:lnTo>
                  <a:pt x="2059" y="1382"/>
                </a:lnTo>
                <a:lnTo>
                  <a:pt x="2048" y="1367"/>
                </a:lnTo>
                <a:lnTo>
                  <a:pt x="2040" y="1357"/>
                </a:lnTo>
                <a:lnTo>
                  <a:pt x="2036" y="1342"/>
                </a:lnTo>
                <a:lnTo>
                  <a:pt x="2040" y="1332"/>
                </a:lnTo>
                <a:lnTo>
                  <a:pt x="2044" y="1321"/>
                </a:lnTo>
                <a:lnTo>
                  <a:pt x="2055" y="1317"/>
                </a:lnTo>
                <a:lnTo>
                  <a:pt x="2067" y="1313"/>
                </a:lnTo>
                <a:lnTo>
                  <a:pt x="2090" y="1306"/>
                </a:lnTo>
                <a:lnTo>
                  <a:pt x="2098" y="1300"/>
                </a:lnTo>
                <a:lnTo>
                  <a:pt x="2101" y="1288"/>
                </a:lnTo>
                <a:lnTo>
                  <a:pt x="2101" y="1267"/>
                </a:lnTo>
                <a:lnTo>
                  <a:pt x="2105" y="1248"/>
                </a:lnTo>
                <a:lnTo>
                  <a:pt x="2109" y="1238"/>
                </a:lnTo>
                <a:lnTo>
                  <a:pt x="2113" y="1234"/>
                </a:lnTo>
                <a:lnTo>
                  <a:pt x="2121" y="1231"/>
                </a:lnTo>
                <a:lnTo>
                  <a:pt x="2132" y="1227"/>
                </a:lnTo>
                <a:lnTo>
                  <a:pt x="2161" y="1227"/>
                </a:lnTo>
                <a:lnTo>
                  <a:pt x="2180" y="1219"/>
                </a:lnTo>
                <a:lnTo>
                  <a:pt x="2199" y="1213"/>
                </a:lnTo>
                <a:lnTo>
                  <a:pt x="2213" y="1198"/>
                </a:lnTo>
                <a:lnTo>
                  <a:pt x="2220" y="1181"/>
                </a:lnTo>
                <a:lnTo>
                  <a:pt x="2228" y="1162"/>
                </a:lnTo>
                <a:lnTo>
                  <a:pt x="2243" y="1112"/>
                </a:lnTo>
                <a:lnTo>
                  <a:pt x="2255" y="1094"/>
                </a:lnTo>
                <a:lnTo>
                  <a:pt x="2266" y="1073"/>
                </a:lnTo>
                <a:lnTo>
                  <a:pt x="2276" y="1054"/>
                </a:lnTo>
                <a:lnTo>
                  <a:pt x="2280" y="1033"/>
                </a:lnTo>
                <a:lnTo>
                  <a:pt x="2276" y="1025"/>
                </a:lnTo>
                <a:lnTo>
                  <a:pt x="2272" y="1018"/>
                </a:lnTo>
                <a:lnTo>
                  <a:pt x="2263" y="1012"/>
                </a:lnTo>
                <a:lnTo>
                  <a:pt x="2247" y="1004"/>
                </a:lnTo>
                <a:lnTo>
                  <a:pt x="2243" y="996"/>
                </a:lnTo>
                <a:lnTo>
                  <a:pt x="2243" y="993"/>
                </a:lnTo>
                <a:lnTo>
                  <a:pt x="2243" y="975"/>
                </a:lnTo>
                <a:lnTo>
                  <a:pt x="2251" y="958"/>
                </a:lnTo>
                <a:lnTo>
                  <a:pt x="2268" y="925"/>
                </a:lnTo>
                <a:lnTo>
                  <a:pt x="2291" y="889"/>
                </a:lnTo>
                <a:lnTo>
                  <a:pt x="2295" y="872"/>
                </a:lnTo>
                <a:lnTo>
                  <a:pt x="2299" y="856"/>
                </a:lnTo>
                <a:lnTo>
                  <a:pt x="2299" y="835"/>
                </a:lnTo>
                <a:lnTo>
                  <a:pt x="2280" y="831"/>
                </a:lnTo>
                <a:lnTo>
                  <a:pt x="2263" y="828"/>
                </a:lnTo>
                <a:lnTo>
                  <a:pt x="2247" y="816"/>
                </a:lnTo>
                <a:lnTo>
                  <a:pt x="2243" y="810"/>
                </a:lnTo>
                <a:lnTo>
                  <a:pt x="2243" y="799"/>
                </a:lnTo>
                <a:lnTo>
                  <a:pt x="2243" y="791"/>
                </a:lnTo>
                <a:lnTo>
                  <a:pt x="2251" y="785"/>
                </a:lnTo>
                <a:lnTo>
                  <a:pt x="2263" y="782"/>
                </a:lnTo>
                <a:lnTo>
                  <a:pt x="2272" y="782"/>
                </a:lnTo>
                <a:lnTo>
                  <a:pt x="2284" y="785"/>
                </a:lnTo>
                <a:lnTo>
                  <a:pt x="2295" y="787"/>
                </a:lnTo>
                <a:lnTo>
                  <a:pt x="2311" y="795"/>
                </a:lnTo>
                <a:lnTo>
                  <a:pt x="2326" y="806"/>
                </a:lnTo>
                <a:lnTo>
                  <a:pt x="2334" y="810"/>
                </a:lnTo>
                <a:lnTo>
                  <a:pt x="2341" y="814"/>
                </a:lnTo>
                <a:lnTo>
                  <a:pt x="2389" y="814"/>
                </a:lnTo>
                <a:lnTo>
                  <a:pt x="2412" y="816"/>
                </a:lnTo>
                <a:lnTo>
                  <a:pt x="2439" y="820"/>
                </a:lnTo>
                <a:lnTo>
                  <a:pt x="2466" y="820"/>
                </a:lnTo>
                <a:lnTo>
                  <a:pt x="2466" y="806"/>
                </a:lnTo>
                <a:lnTo>
                  <a:pt x="2451" y="799"/>
                </a:lnTo>
                <a:lnTo>
                  <a:pt x="2435" y="787"/>
                </a:lnTo>
                <a:lnTo>
                  <a:pt x="2424" y="778"/>
                </a:lnTo>
                <a:lnTo>
                  <a:pt x="2420" y="762"/>
                </a:lnTo>
                <a:lnTo>
                  <a:pt x="2424" y="753"/>
                </a:lnTo>
                <a:lnTo>
                  <a:pt x="2428" y="749"/>
                </a:lnTo>
                <a:lnTo>
                  <a:pt x="2435" y="745"/>
                </a:lnTo>
                <a:lnTo>
                  <a:pt x="2447" y="741"/>
                </a:lnTo>
                <a:lnTo>
                  <a:pt x="2462" y="745"/>
                </a:lnTo>
                <a:lnTo>
                  <a:pt x="2474" y="757"/>
                </a:lnTo>
                <a:lnTo>
                  <a:pt x="2485" y="762"/>
                </a:lnTo>
                <a:lnTo>
                  <a:pt x="2501" y="766"/>
                </a:lnTo>
                <a:lnTo>
                  <a:pt x="2506" y="766"/>
                </a:lnTo>
                <a:lnTo>
                  <a:pt x="2510" y="758"/>
                </a:lnTo>
                <a:lnTo>
                  <a:pt x="2518" y="745"/>
                </a:lnTo>
                <a:lnTo>
                  <a:pt x="2522" y="728"/>
                </a:lnTo>
                <a:lnTo>
                  <a:pt x="2526" y="712"/>
                </a:lnTo>
                <a:lnTo>
                  <a:pt x="2526" y="695"/>
                </a:lnTo>
                <a:lnTo>
                  <a:pt x="2541" y="672"/>
                </a:lnTo>
                <a:lnTo>
                  <a:pt x="2556" y="647"/>
                </a:lnTo>
                <a:lnTo>
                  <a:pt x="2568" y="618"/>
                </a:lnTo>
                <a:lnTo>
                  <a:pt x="2572" y="586"/>
                </a:lnTo>
                <a:lnTo>
                  <a:pt x="2572" y="572"/>
                </a:lnTo>
                <a:lnTo>
                  <a:pt x="2568" y="561"/>
                </a:lnTo>
                <a:lnTo>
                  <a:pt x="2552" y="543"/>
                </a:lnTo>
                <a:lnTo>
                  <a:pt x="2533" y="528"/>
                </a:lnTo>
                <a:lnTo>
                  <a:pt x="2510" y="515"/>
                </a:lnTo>
                <a:lnTo>
                  <a:pt x="2489" y="499"/>
                </a:lnTo>
                <a:lnTo>
                  <a:pt x="2470" y="486"/>
                </a:lnTo>
                <a:lnTo>
                  <a:pt x="2455" y="469"/>
                </a:lnTo>
                <a:lnTo>
                  <a:pt x="2451" y="453"/>
                </a:lnTo>
                <a:lnTo>
                  <a:pt x="2451" y="442"/>
                </a:lnTo>
                <a:lnTo>
                  <a:pt x="2451" y="432"/>
                </a:lnTo>
                <a:lnTo>
                  <a:pt x="2458" y="421"/>
                </a:lnTo>
                <a:lnTo>
                  <a:pt x="2474" y="407"/>
                </a:lnTo>
                <a:lnTo>
                  <a:pt x="2493" y="392"/>
                </a:lnTo>
                <a:lnTo>
                  <a:pt x="2497" y="384"/>
                </a:lnTo>
                <a:lnTo>
                  <a:pt x="2501" y="371"/>
                </a:lnTo>
                <a:lnTo>
                  <a:pt x="2497" y="363"/>
                </a:lnTo>
                <a:lnTo>
                  <a:pt x="2493" y="353"/>
                </a:lnTo>
                <a:lnTo>
                  <a:pt x="2478" y="342"/>
                </a:lnTo>
                <a:lnTo>
                  <a:pt x="2462" y="330"/>
                </a:lnTo>
                <a:lnTo>
                  <a:pt x="2455" y="327"/>
                </a:lnTo>
                <a:lnTo>
                  <a:pt x="2455" y="321"/>
                </a:lnTo>
                <a:lnTo>
                  <a:pt x="2455" y="309"/>
                </a:lnTo>
                <a:lnTo>
                  <a:pt x="2462" y="302"/>
                </a:lnTo>
                <a:lnTo>
                  <a:pt x="2466" y="296"/>
                </a:lnTo>
                <a:lnTo>
                  <a:pt x="2470" y="281"/>
                </a:lnTo>
                <a:lnTo>
                  <a:pt x="2466" y="277"/>
                </a:lnTo>
                <a:lnTo>
                  <a:pt x="2462" y="273"/>
                </a:lnTo>
                <a:lnTo>
                  <a:pt x="2451" y="273"/>
                </a:lnTo>
                <a:lnTo>
                  <a:pt x="2424" y="277"/>
                </a:lnTo>
                <a:lnTo>
                  <a:pt x="2412" y="273"/>
                </a:lnTo>
                <a:lnTo>
                  <a:pt x="2401" y="267"/>
                </a:lnTo>
                <a:lnTo>
                  <a:pt x="2384" y="244"/>
                </a:lnTo>
                <a:lnTo>
                  <a:pt x="2364" y="219"/>
                </a:lnTo>
                <a:lnTo>
                  <a:pt x="2353" y="211"/>
                </a:lnTo>
                <a:lnTo>
                  <a:pt x="2345" y="210"/>
                </a:lnTo>
                <a:lnTo>
                  <a:pt x="2326" y="211"/>
                </a:lnTo>
                <a:lnTo>
                  <a:pt x="2311" y="219"/>
                </a:lnTo>
                <a:lnTo>
                  <a:pt x="2299" y="227"/>
                </a:lnTo>
                <a:lnTo>
                  <a:pt x="2288" y="231"/>
                </a:lnTo>
                <a:lnTo>
                  <a:pt x="2251" y="231"/>
                </a:lnTo>
                <a:lnTo>
                  <a:pt x="2228" y="231"/>
                </a:lnTo>
                <a:lnTo>
                  <a:pt x="2209" y="238"/>
                </a:lnTo>
                <a:lnTo>
                  <a:pt x="2199" y="240"/>
                </a:lnTo>
                <a:lnTo>
                  <a:pt x="2195" y="252"/>
                </a:lnTo>
                <a:lnTo>
                  <a:pt x="2192" y="259"/>
                </a:lnTo>
                <a:lnTo>
                  <a:pt x="2192" y="269"/>
                </a:lnTo>
                <a:lnTo>
                  <a:pt x="2192" y="292"/>
                </a:lnTo>
                <a:lnTo>
                  <a:pt x="2199" y="309"/>
                </a:lnTo>
                <a:lnTo>
                  <a:pt x="2217" y="338"/>
                </a:lnTo>
                <a:lnTo>
                  <a:pt x="2236" y="371"/>
                </a:lnTo>
                <a:lnTo>
                  <a:pt x="2243" y="388"/>
                </a:lnTo>
                <a:lnTo>
                  <a:pt x="2247" y="407"/>
                </a:lnTo>
                <a:lnTo>
                  <a:pt x="2236" y="432"/>
                </a:lnTo>
                <a:lnTo>
                  <a:pt x="2224" y="461"/>
                </a:lnTo>
                <a:lnTo>
                  <a:pt x="2224" y="536"/>
                </a:lnTo>
                <a:lnTo>
                  <a:pt x="2217" y="561"/>
                </a:lnTo>
                <a:lnTo>
                  <a:pt x="2213" y="576"/>
                </a:lnTo>
                <a:lnTo>
                  <a:pt x="2213" y="590"/>
                </a:lnTo>
                <a:lnTo>
                  <a:pt x="2213" y="601"/>
                </a:lnTo>
                <a:lnTo>
                  <a:pt x="2217" y="613"/>
                </a:lnTo>
                <a:lnTo>
                  <a:pt x="2224" y="618"/>
                </a:lnTo>
                <a:lnTo>
                  <a:pt x="2224" y="634"/>
                </a:lnTo>
                <a:lnTo>
                  <a:pt x="2220" y="643"/>
                </a:lnTo>
                <a:lnTo>
                  <a:pt x="2209" y="659"/>
                </a:lnTo>
                <a:lnTo>
                  <a:pt x="2192" y="670"/>
                </a:lnTo>
                <a:lnTo>
                  <a:pt x="2180" y="676"/>
                </a:lnTo>
                <a:lnTo>
                  <a:pt x="2165" y="672"/>
                </a:lnTo>
                <a:lnTo>
                  <a:pt x="2146" y="662"/>
                </a:lnTo>
                <a:lnTo>
                  <a:pt x="2128" y="647"/>
                </a:lnTo>
                <a:lnTo>
                  <a:pt x="2113" y="630"/>
                </a:lnTo>
                <a:lnTo>
                  <a:pt x="2098" y="609"/>
                </a:lnTo>
                <a:lnTo>
                  <a:pt x="2090" y="590"/>
                </a:lnTo>
                <a:lnTo>
                  <a:pt x="2082" y="568"/>
                </a:lnTo>
                <a:lnTo>
                  <a:pt x="2078" y="555"/>
                </a:lnTo>
                <a:lnTo>
                  <a:pt x="2082" y="543"/>
                </a:lnTo>
                <a:lnTo>
                  <a:pt x="2086" y="532"/>
                </a:lnTo>
                <a:lnTo>
                  <a:pt x="2094" y="522"/>
                </a:lnTo>
                <a:lnTo>
                  <a:pt x="2094" y="511"/>
                </a:lnTo>
                <a:lnTo>
                  <a:pt x="2090" y="490"/>
                </a:lnTo>
                <a:lnTo>
                  <a:pt x="2086" y="469"/>
                </a:lnTo>
                <a:lnTo>
                  <a:pt x="2071" y="446"/>
                </a:lnTo>
                <a:lnTo>
                  <a:pt x="2059" y="428"/>
                </a:lnTo>
                <a:lnTo>
                  <a:pt x="2040" y="411"/>
                </a:lnTo>
                <a:lnTo>
                  <a:pt x="2023" y="396"/>
                </a:lnTo>
                <a:lnTo>
                  <a:pt x="2000" y="384"/>
                </a:lnTo>
                <a:lnTo>
                  <a:pt x="1980" y="382"/>
                </a:lnTo>
                <a:lnTo>
                  <a:pt x="1973" y="392"/>
                </a:lnTo>
                <a:lnTo>
                  <a:pt x="1969" y="403"/>
                </a:lnTo>
                <a:lnTo>
                  <a:pt x="1961" y="413"/>
                </a:lnTo>
                <a:lnTo>
                  <a:pt x="1957" y="432"/>
                </a:lnTo>
                <a:lnTo>
                  <a:pt x="1961" y="453"/>
                </a:lnTo>
                <a:lnTo>
                  <a:pt x="1969" y="469"/>
                </a:lnTo>
                <a:lnTo>
                  <a:pt x="1973" y="486"/>
                </a:lnTo>
                <a:lnTo>
                  <a:pt x="1977" y="507"/>
                </a:lnTo>
                <a:lnTo>
                  <a:pt x="1977" y="519"/>
                </a:lnTo>
                <a:lnTo>
                  <a:pt x="1973" y="526"/>
                </a:lnTo>
                <a:lnTo>
                  <a:pt x="1965" y="532"/>
                </a:lnTo>
                <a:lnTo>
                  <a:pt x="1954" y="536"/>
                </a:lnTo>
                <a:lnTo>
                  <a:pt x="1942" y="532"/>
                </a:lnTo>
                <a:lnTo>
                  <a:pt x="1931" y="522"/>
                </a:lnTo>
                <a:lnTo>
                  <a:pt x="1923" y="507"/>
                </a:lnTo>
                <a:lnTo>
                  <a:pt x="1915" y="490"/>
                </a:lnTo>
                <a:lnTo>
                  <a:pt x="1906" y="449"/>
                </a:lnTo>
                <a:lnTo>
                  <a:pt x="1902" y="417"/>
                </a:lnTo>
                <a:lnTo>
                  <a:pt x="1902" y="407"/>
                </a:lnTo>
                <a:lnTo>
                  <a:pt x="1908" y="400"/>
                </a:lnTo>
                <a:lnTo>
                  <a:pt x="1911" y="388"/>
                </a:lnTo>
                <a:lnTo>
                  <a:pt x="1915" y="378"/>
                </a:lnTo>
                <a:lnTo>
                  <a:pt x="1911" y="371"/>
                </a:lnTo>
                <a:lnTo>
                  <a:pt x="1906" y="363"/>
                </a:lnTo>
                <a:lnTo>
                  <a:pt x="1886" y="350"/>
                </a:lnTo>
                <a:lnTo>
                  <a:pt x="1863" y="342"/>
                </a:lnTo>
                <a:lnTo>
                  <a:pt x="1840" y="338"/>
                </a:lnTo>
                <a:lnTo>
                  <a:pt x="1829" y="342"/>
                </a:lnTo>
                <a:lnTo>
                  <a:pt x="1821" y="346"/>
                </a:lnTo>
                <a:lnTo>
                  <a:pt x="1813" y="350"/>
                </a:lnTo>
                <a:lnTo>
                  <a:pt x="1802" y="353"/>
                </a:lnTo>
                <a:lnTo>
                  <a:pt x="1790" y="350"/>
                </a:lnTo>
                <a:lnTo>
                  <a:pt x="1785" y="342"/>
                </a:lnTo>
                <a:lnTo>
                  <a:pt x="1777" y="334"/>
                </a:lnTo>
                <a:lnTo>
                  <a:pt x="1773" y="321"/>
                </a:lnTo>
                <a:lnTo>
                  <a:pt x="1777" y="309"/>
                </a:lnTo>
                <a:lnTo>
                  <a:pt x="1781" y="298"/>
                </a:lnTo>
                <a:lnTo>
                  <a:pt x="1798" y="288"/>
                </a:lnTo>
                <a:lnTo>
                  <a:pt x="1813" y="277"/>
                </a:lnTo>
                <a:lnTo>
                  <a:pt x="1821" y="267"/>
                </a:lnTo>
                <a:lnTo>
                  <a:pt x="1821" y="256"/>
                </a:lnTo>
                <a:lnTo>
                  <a:pt x="1817" y="238"/>
                </a:lnTo>
                <a:lnTo>
                  <a:pt x="1810" y="223"/>
                </a:lnTo>
                <a:lnTo>
                  <a:pt x="1798" y="211"/>
                </a:lnTo>
                <a:lnTo>
                  <a:pt x="1785" y="202"/>
                </a:lnTo>
                <a:lnTo>
                  <a:pt x="1754" y="181"/>
                </a:lnTo>
                <a:lnTo>
                  <a:pt x="1742" y="165"/>
                </a:lnTo>
                <a:lnTo>
                  <a:pt x="1735" y="148"/>
                </a:lnTo>
                <a:lnTo>
                  <a:pt x="1716" y="94"/>
                </a:lnTo>
                <a:lnTo>
                  <a:pt x="1704" y="67"/>
                </a:lnTo>
                <a:lnTo>
                  <a:pt x="1685" y="46"/>
                </a:lnTo>
                <a:lnTo>
                  <a:pt x="1666" y="25"/>
                </a:lnTo>
                <a:lnTo>
                  <a:pt x="1637" y="0"/>
                </a:lnTo>
                <a:lnTo>
                  <a:pt x="1583" y="0"/>
                </a:lnTo>
                <a:lnTo>
                  <a:pt x="1572" y="37"/>
                </a:lnTo>
                <a:lnTo>
                  <a:pt x="1556" y="71"/>
                </a:lnTo>
                <a:lnTo>
                  <a:pt x="1552" y="79"/>
                </a:lnTo>
                <a:lnTo>
                  <a:pt x="1543" y="87"/>
                </a:lnTo>
                <a:lnTo>
                  <a:pt x="1531" y="96"/>
                </a:lnTo>
                <a:lnTo>
                  <a:pt x="1527" y="104"/>
                </a:lnTo>
                <a:lnTo>
                  <a:pt x="1527" y="112"/>
                </a:lnTo>
                <a:lnTo>
                  <a:pt x="1527" y="140"/>
                </a:lnTo>
                <a:lnTo>
                  <a:pt x="1531" y="173"/>
                </a:lnTo>
                <a:lnTo>
                  <a:pt x="1535" y="183"/>
                </a:lnTo>
                <a:lnTo>
                  <a:pt x="1543" y="194"/>
                </a:lnTo>
                <a:lnTo>
                  <a:pt x="1549" y="202"/>
                </a:lnTo>
                <a:lnTo>
                  <a:pt x="1552" y="215"/>
                </a:lnTo>
                <a:lnTo>
                  <a:pt x="1552" y="227"/>
                </a:lnTo>
                <a:lnTo>
                  <a:pt x="1545" y="238"/>
                </a:lnTo>
                <a:lnTo>
                  <a:pt x="1539" y="248"/>
                </a:lnTo>
                <a:lnTo>
                  <a:pt x="1535" y="267"/>
                </a:lnTo>
                <a:lnTo>
                  <a:pt x="1539" y="281"/>
                </a:lnTo>
                <a:lnTo>
                  <a:pt x="1539" y="292"/>
                </a:lnTo>
                <a:lnTo>
                  <a:pt x="1549" y="313"/>
                </a:lnTo>
                <a:lnTo>
                  <a:pt x="1568" y="330"/>
                </a:lnTo>
                <a:lnTo>
                  <a:pt x="1587" y="346"/>
                </a:lnTo>
                <a:lnTo>
                  <a:pt x="1633" y="367"/>
                </a:lnTo>
                <a:lnTo>
                  <a:pt x="1656" y="378"/>
                </a:lnTo>
                <a:lnTo>
                  <a:pt x="1673" y="392"/>
                </a:lnTo>
                <a:lnTo>
                  <a:pt x="1708" y="388"/>
                </a:lnTo>
                <a:lnTo>
                  <a:pt x="1712" y="400"/>
                </a:lnTo>
                <a:lnTo>
                  <a:pt x="1716" y="407"/>
                </a:lnTo>
                <a:lnTo>
                  <a:pt x="1727" y="417"/>
                </a:lnTo>
                <a:lnTo>
                  <a:pt x="1742" y="424"/>
                </a:lnTo>
                <a:lnTo>
                  <a:pt x="1746" y="432"/>
                </a:lnTo>
                <a:lnTo>
                  <a:pt x="1746" y="442"/>
                </a:lnTo>
                <a:lnTo>
                  <a:pt x="1746" y="453"/>
                </a:lnTo>
                <a:lnTo>
                  <a:pt x="1739" y="461"/>
                </a:lnTo>
                <a:lnTo>
                  <a:pt x="1735" y="469"/>
                </a:lnTo>
                <a:lnTo>
                  <a:pt x="1731" y="474"/>
                </a:lnTo>
                <a:lnTo>
                  <a:pt x="1731" y="526"/>
                </a:lnTo>
                <a:lnTo>
                  <a:pt x="1723" y="540"/>
                </a:lnTo>
                <a:lnTo>
                  <a:pt x="1704" y="572"/>
                </a:lnTo>
                <a:lnTo>
                  <a:pt x="1681" y="605"/>
                </a:lnTo>
                <a:lnTo>
                  <a:pt x="1666" y="618"/>
                </a:lnTo>
                <a:lnTo>
                  <a:pt x="1652" y="626"/>
                </a:lnTo>
                <a:lnTo>
                  <a:pt x="1637" y="634"/>
                </a:lnTo>
                <a:lnTo>
                  <a:pt x="1629" y="641"/>
                </a:lnTo>
                <a:lnTo>
                  <a:pt x="1625" y="643"/>
                </a:lnTo>
                <a:lnTo>
                  <a:pt x="1622" y="655"/>
                </a:lnTo>
                <a:lnTo>
                  <a:pt x="1618" y="666"/>
                </a:lnTo>
                <a:lnTo>
                  <a:pt x="1622" y="672"/>
                </a:lnTo>
                <a:lnTo>
                  <a:pt x="1622" y="680"/>
                </a:lnTo>
                <a:lnTo>
                  <a:pt x="1633" y="691"/>
                </a:lnTo>
                <a:lnTo>
                  <a:pt x="1641" y="701"/>
                </a:lnTo>
                <a:lnTo>
                  <a:pt x="1645" y="709"/>
                </a:lnTo>
                <a:lnTo>
                  <a:pt x="1645" y="720"/>
                </a:lnTo>
                <a:lnTo>
                  <a:pt x="1645" y="728"/>
                </a:lnTo>
                <a:lnTo>
                  <a:pt x="1641" y="734"/>
                </a:lnTo>
                <a:lnTo>
                  <a:pt x="1633" y="737"/>
                </a:lnTo>
                <a:lnTo>
                  <a:pt x="1622" y="737"/>
                </a:lnTo>
                <a:lnTo>
                  <a:pt x="1610" y="737"/>
                </a:lnTo>
                <a:lnTo>
                  <a:pt x="1598" y="730"/>
                </a:lnTo>
                <a:lnTo>
                  <a:pt x="1587" y="724"/>
                </a:lnTo>
                <a:lnTo>
                  <a:pt x="1583" y="712"/>
                </a:lnTo>
                <a:lnTo>
                  <a:pt x="1587" y="701"/>
                </a:lnTo>
                <a:lnTo>
                  <a:pt x="1587" y="695"/>
                </a:lnTo>
                <a:lnTo>
                  <a:pt x="1591" y="684"/>
                </a:lnTo>
                <a:lnTo>
                  <a:pt x="1595" y="672"/>
                </a:lnTo>
                <a:lnTo>
                  <a:pt x="1591" y="662"/>
                </a:lnTo>
                <a:lnTo>
                  <a:pt x="1587" y="655"/>
                </a:lnTo>
                <a:lnTo>
                  <a:pt x="1575" y="641"/>
                </a:lnTo>
                <a:lnTo>
                  <a:pt x="1564" y="626"/>
                </a:lnTo>
                <a:lnTo>
                  <a:pt x="1560" y="618"/>
                </a:lnTo>
                <a:lnTo>
                  <a:pt x="1560" y="615"/>
                </a:lnTo>
                <a:lnTo>
                  <a:pt x="1560" y="597"/>
                </a:lnTo>
                <a:lnTo>
                  <a:pt x="1549" y="593"/>
                </a:lnTo>
                <a:lnTo>
                  <a:pt x="1539" y="590"/>
                </a:lnTo>
                <a:lnTo>
                  <a:pt x="1520" y="576"/>
                </a:lnTo>
                <a:lnTo>
                  <a:pt x="1508" y="565"/>
                </a:lnTo>
                <a:lnTo>
                  <a:pt x="1501" y="561"/>
                </a:lnTo>
                <a:lnTo>
                  <a:pt x="1489" y="557"/>
                </a:lnTo>
                <a:lnTo>
                  <a:pt x="1478" y="561"/>
                </a:lnTo>
                <a:lnTo>
                  <a:pt x="1466" y="565"/>
                </a:lnTo>
                <a:lnTo>
                  <a:pt x="1455" y="576"/>
                </a:lnTo>
                <a:lnTo>
                  <a:pt x="1451" y="586"/>
                </a:lnTo>
                <a:lnTo>
                  <a:pt x="1439" y="586"/>
                </a:lnTo>
                <a:lnTo>
                  <a:pt x="1431" y="590"/>
                </a:lnTo>
                <a:lnTo>
                  <a:pt x="1431" y="597"/>
                </a:lnTo>
                <a:lnTo>
                  <a:pt x="1435" y="615"/>
                </a:lnTo>
                <a:lnTo>
                  <a:pt x="1435" y="630"/>
                </a:lnTo>
                <a:lnTo>
                  <a:pt x="1439" y="643"/>
                </a:lnTo>
                <a:lnTo>
                  <a:pt x="1443" y="659"/>
                </a:lnTo>
                <a:lnTo>
                  <a:pt x="1439" y="672"/>
                </a:lnTo>
                <a:lnTo>
                  <a:pt x="1428" y="680"/>
                </a:lnTo>
                <a:lnTo>
                  <a:pt x="1418" y="687"/>
                </a:lnTo>
                <a:lnTo>
                  <a:pt x="1399" y="691"/>
                </a:lnTo>
                <a:lnTo>
                  <a:pt x="1380" y="687"/>
                </a:lnTo>
                <a:lnTo>
                  <a:pt x="1360" y="687"/>
                </a:lnTo>
                <a:lnTo>
                  <a:pt x="1341" y="684"/>
                </a:lnTo>
                <a:lnTo>
                  <a:pt x="1322" y="680"/>
                </a:lnTo>
                <a:lnTo>
                  <a:pt x="1301" y="684"/>
                </a:lnTo>
                <a:lnTo>
                  <a:pt x="1278" y="687"/>
                </a:lnTo>
                <a:lnTo>
                  <a:pt x="1263" y="695"/>
                </a:lnTo>
                <a:lnTo>
                  <a:pt x="1240" y="695"/>
                </a:lnTo>
                <a:lnTo>
                  <a:pt x="1220" y="695"/>
                </a:lnTo>
                <a:lnTo>
                  <a:pt x="1201" y="687"/>
                </a:lnTo>
                <a:lnTo>
                  <a:pt x="1186" y="680"/>
                </a:lnTo>
                <a:lnTo>
                  <a:pt x="1176" y="670"/>
                </a:lnTo>
                <a:lnTo>
                  <a:pt x="1149" y="647"/>
                </a:lnTo>
                <a:lnTo>
                  <a:pt x="1138" y="641"/>
                </a:lnTo>
                <a:lnTo>
                  <a:pt x="1126" y="634"/>
                </a:lnTo>
                <a:lnTo>
                  <a:pt x="1107" y="630"/>
                </a:lnTo>
                <a:lnTo>
                  <a:pt x="1092" y="630"/>
                </a:lnTo>
                <a:lnTo>
                  <a:pt x="1076" y="630"/>
                </a:lnTo>
                <a:lnTo>
                  <a:pt x="1059" y="622"/>
                </a:lnTo>
                <a:lnTo>
                  <a:pt x="1044" y="609"/>
                </a:lnTo>
                <a:lnTo>
                  <a:pt x="1032" y="590"/>
                </a:lnTo>
                <a:lnTo>
                  <a:pt x="1017" y="543"/>
                </a:lnTo>
                <a:lnTo>
                  <a:pt x="1005" y="522"/>
                </a:lnTo>
                <a:lnTo>
                  <a:pt x="994" y="499"/>
                </a:lnTo>
                <a:lnTo>
                  <a:pt x="986" y="494"/>
                </a:lnTo>
                <a:lnTo>
                  <a:pt x="978" y="486"/>
                </a:lnTo>
                <a:lnTo>
                  <a:pt x="967" y="482"/>
                </a:lnTo>
                <a:lnTo>
                  <a:pt x="955" y="482"/>
                </a:lnTo>
                <a:lnTo>
                  <a:pt x="946" y="486"/>
                </a:lnTo>
                <a:lnTo>
                  <a:pt x="938" y="490"/>
                </a:lnTo>
                <a:lnTo>
                  <a:pt x="927" y="497"/>
                </a:lnTo>
                <a:lnTo>
                  <a:pt x="915" y="499"/>
                </a:lnTo>
                <a:lnTo>
                  <a:pt x="884" y="507"/>
                </a:lnTo>
                <a:lnTo>
                  <a:pt x="842" y="515"/>
                </a:lnTo>
                <a:lnTo>
                  <a:pt x="825" y="519"/>
                </a:lnTo>
                <a:lnTo>
                  <a:pt x="810" y="526"/>
                </a:lnTo>
                <a:lnTo>
                  <a:pt x="798" y="536"/>
                </a:lnTo>
                <a:lnTo>
                  <a:pt x="794" y="551"/>
                </a:lnTo>
                <a:lnTo>
                  <a:pt x="798" y="561"/>
                </a:lnTo>
                <a:lnTo>
                  <a:pt x="806" y="576"/>
                </a:lnTo>
                <a:lnTo>
                  <a:pt x="821" y="584"/>
                </a:lnTo>
                <a:lnTo>
                  <a:pt x="831" y="586"/>
                </a:lnTo>
                <a:lnTo>
                  <a:pt x="850" y="584"/>
                </a:lnTo>
                <a:lnTo>
                  <a:pt x="865" y="576"/>
                </a:lnTo>
                <a:lnTo>
                  <a:pt x="900" y="557"/>
                </a:lnTo>
                <a:lnTo>
                  <a:pt x="938" y="540"/>
                </a:lnTo>
                <a:lnTo>
                  <a:pt x="952" y="532"/>
                </a:lnTo>
                <a:lnTo>
                  <a:pt x="967" y="528"/>
                </a:lnTo>
                <a:lnTo>
                  <a:pt x="994" y="528"/>
                </a:lnTo>
                <a:lnTo>
                  <a:pt x="994" y="551"/>
                </a:lnTo>
                <a:lnTo>
                  <a:pt x="994" y="555"/>
                </a:lnTo>
                <a:lnTo>
                  <a:pt x="990" y="557"/>
                </a:lnTo>
                <a:lnTo>
                  <a:pt x="978" y="561"/>
                </a:lnTo>
                <a:lnTo>
                  <a:pt x="955" y="565"/>
                </a:lnTo>
                <a:lnTo>
                  <a:pt x="942" y="572"/>
                </a:lnTo>
                <a:lnTo>
                  <a:pt x="934" y="584"/>
                </a:lnTo>
                <a:lnTo>
                  <a:pt x="927" y="593"/>
                </a:lnTo>
                <a:lnTo>
                  <a:pt x="911" y="601"/>
                </a:lnTo>
                <a:lnTo>
                  <a:pt x="896" y="605"/>
                </a:lnTo>
                <a:lnTo>
                  <a:pt x="881" y="605"/>
                </a:lnTo>
                <a:lnTo>
                  <a:pt x="865" y="605"/>
                </a:lnTo>
                <a:lnTo>
                  <a:pt x="854" y="613"/>
                </a:lnTo>
                <a:lnTo>
                  <a:pt x="846" y="618"/>
                </a:lnTo>
                <a:lnTo>
                  <a:pt x="838" y="634"/>
                </a:lnTo>
                <a:lnTo>
                  <a:pt x="831" y="647"/>
                </a:lnTo>
                <a:lnTo>
                  <a:pt x="825" y="659"/>
                </a:lnTo>
                <a:lnTo>
                  <a:pt x="825" y="670"/>
                </a:lnTo>
                <a:lnTo>
                  <a:pt x="831" y="680"/>
                </a:lnTo>
                <a:lnTo>
                  <a:pt x="838" y="691"/>
                </a:lnTo>
                <a:lnTo>
                  <a:pt x="842" y="701"/>
                </a:lnTo>
                <a:lnTo>
                  <a:pt x="838" y="709"/>
                </a:lnTo>
                <a:lnTo>
                  <a:pt x="838" y="712"/>
                </a:lnTo>
                <a:lnTo>
                  <a:pt x="827" y="720"/>
                </a:lnTo>
                <a:lnTo>
                  <a:pt x="821" y="712"/>
                </a:lnTo>
                <a:lnTo>
                  <a:pt x="798" y="699"/>
                </a:lnTo>
                <a:lnTo>
                  <a:pt x="783" y="687"/>
                </a:lnTo>
                <a:lnTo>
                  <a:pt x="767" y="666"/>
                </a:lnTo>
                <a:lnTo>
                  <a:pt x="760" y="638"/>
                </a:lnTo>
                <a:lnTo>
                  <a:pt x="737" y="638"/>
                </a:lnTo>
                <a:lnTo>
                  <a:pt x="729" y="634"/>
                </a:lnTo>
                <a:lnTo>
                  <a:pt x="721" y="626"/>
                </a:lnTo>
                <a:lnTo>
                  <a:pt x="721" y="605"/>
                </a:lnTo>
                <a:lnTo>
                  <a:pt x="717" y="593"/>
                </a:lnTo>
                <a:lnTo>
                  <a:pt x="714" y="590"/>
                </a:lnTo>
                <a:lnTo>
                  <a:pt x="710" y="590"/>
                </a:lnTo>
                <a:lnTo>
                  <a:pt x="677" y="593"/>
                </a:lnTo>
                <a:lnTo>
                  <a:pt x="646" y="605"/>
                </a:lnTo>
                <a:lnTo>
                  <a:pt x="612" y="613"/>
                </a:lnTo>
                <a:lnTo>
                  <a:pt x="589" y="615"/>
                </a:lnTo>
                <a:lnTo>
                  <a:pt x="572" y="615"/>
                </a:lnTo>
                <a:lnTo>
                  <a:pt x="545" y="615"/>
                </a:lnTo>
                <a:lnTo>
                  <a:pt x="522" y="613"/>
                </a:lnTo>
                <a:lnTo>
                  <a:pt x="479" y="601"/>
                </a:lnTo>
                <a:lnTo>
                  <a:pt x="408" y="572"/>
                </a:lnTo>
                <a:lnTo>
                  <a:pt x="382" y="568"/>
                </a:lnTo>
                <a:lnTo>
                  <a:pt x="370" y="561"/>
                </a:lnTo>
                <a:lnTo>
                  <a:pt x="366" y="557"/>
                </a:lnTo>
                <a:lnTo>
                  <a:pt x="362" y="555"/>
                </a:lnTo>
                <a:lnTo>
                  <a:pt x="366" y="543"/>
                </a:lnTo>
                <a:lnTo>
                  <a:pt x="366" y="536"/>
                </a:lnTo>
                <a:lnTo>
                  <a:pt x="378" y="522"/>
                </a:lnTo>
                <a:lnTo>
                  <a:pt x="393" y="515"/>
                </a:lnTo>
                <a:lnTo>
                  <a:pt x="412" y="511"/>
                </a:lnTo>
                <a:lnTo>
                  <a:pt x="462" y="511"/>
                </a:lnTo>
                <a:lnTo>
                  <a:pt x="458" y="503"/>
                </a:lnTo>
                <a:lnTo>
                  <a:pt x="458" y="497"/>
                </a:lnTo>
                <a:lnTo>
                  <a:pt x="462" y="482"/>
                </a:lnTo>
                <a:lnTo>
                  <a:pt x="458" y="465"/>
                </a:lnTo>
                <a:lnTo>
                  <a:pt x="454" y="442"/>
                </a:lnTo>
                <a:lnTo>
                  <a:pt x="443" y="424"/>
                </a:lnTo>
                <a:lnTo>
                  <a:pt x="431" y="407"/>
                </a:lnTo>
                <a:lnTo>
                  <a:pt x="416" y="388"/>
                </a:lnTo>
                <a:lnTo>
                  <a:pt x="401" y="378"/>
                </a:lnTo>
                <a:lnTo>
                  <a:pt x="385" y="367"/>
                </a:lnTo>
                <a:lnTo>
                  <a:pt x="374" y="367"/>
                </a:lnTo>
                <a:lnTo>
                  <a:pt x="362" y="367"/>
                </a:lnTo>
                <a:lnTo>
                  <a:pt x="358" y="371"/>
                </a:lnTo>
                <a:lnTo>
                  <a:pt x="351" y="375"/>
                </a:lnTo>
                <a:lnTo>
                  <a:pt x="341" y="375"/>
                </a:lnTo>
                <a:lnTo>
                  <a:pt x="322" y="375"/>
                </a:lnTo>
                <a:lnTo>
                  <a:pt x="303" y="363"/>
                </a:lnTo>
                <a:lnTo>
                  <a:pt x="284" y="353"/>
                </a:lnTo>
                <a:lnTo>
                  <a:pt x="261" y="338"/>
                </a:lnTo>
                <a:lnTo>
                  <a:pt x="245" y="325"/>
                </a:lnTo>
                <a:lnTo>
                  <a:pt x="226" y="305"/>
                </a:lnTo>
                <a:lnTo>
                  <a:pt x="216" y="288"/>
                </a:lnTo>
                <a:lnTo>
                  <a:pt x="209" y="273"/>
                </a:lnTo>
                <a:lnTo>
                  <a:pt x="186" y="267"/>
                </a:lnTo>
                <a:lnTo>
                  <a:pt x="159" y="248"/>
                </a:lnTo>
                <a:lnTo>
                  <a:pt x="136" y="227"/>
                </a:lnTo>
                <a:lnTo>
                  <a:pt x="120" y="206"/>
                </a:lnTo>
                <a:lnTo>
                  <a:pt x="109" y="181"/>
                </a:lnTo>
                <a:lnTo>
                  <a:pt x="99" y="154"/>
                </a:lnTo>
                <a:lnTo>
                  <a:pt x="0" y="424"/>
                </a:lnTo>
                <a:lnTo>
                  <a:pt x="435" y="972"/>
                </a:lnTo>
                <a:lnTo>
                  <a:pt x="541" y="979"/>
                </a:lnTo>
                <a:lnTo>
                  <a:pt x="646" y="1115"/>
                </a:lnTo>
                <a:lnTo>
                  <a:pt x="1190" y="1252"/>
                </a:lnTo>
                <a:lnTo>
                  <a:pt x="1193" y="1960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31" name="Freeform 477"/>
          <p:cNvSpPr>
            <a:spLocks/>
          </p:cNvSpPr>
          <p:nvPr/>
        </p:nvSpPr>
        <p:spPr bwMode="gray">
          <a:xfrm>
            <a:off x="5655028" y="2930623"/>
            <a:ext cx="835258" cy="564930"/>
          </a:xfrm>
          <a:custGeom>
            <a:avLst/>
            <a:gdLst>
              <a:gd name="T0" fmla="*/ 401 w 2165"/>
              <a:gd name="T1" fmla="*/ 338 h 1453"/>
              <a:gd name="T2" fmla="*/ 363 w 2165"/>
              <a:gd name="T3" fmla="*/ 328 h 1453"/>
              <a:gd name="T4" fmla="*/ 334 w 2165"/>
              <a:gd name="T5" fmla="*/ 325 h 1453"/>
              <a:gd name="T6" fmla="*/ 311 w 2165"/>
              <a:gd name="T7" fmla="*/ 340 h 1453"/>
              <a:gd name="T8" fmla="*/ 281 w 2165"/>
              <a:gd name="T9" fmla="*/ 358 h 1453"/>
              <a:gd name="T10" fmla="*/ 266 w 2165"/>
              <a:gd name="T11" fmla="*/ 331 h 1453"/>
              <a:gd name="T12" fmla="*/ 279 w 2165"/>
              <a:gd name="T13" fmla="*/ 310 h 1453"/>
              <a:gd name="T14" fmla="*/ 324 w 2165"/>
              <a:gd name="T15" fmla="*/ 288 h 1453"/>
              <a:gd name="T16" fmla="*/ 326 w 2165"/>
              <a:gd name="T17" fmla="*/ 274 h 1453"/>
              <a:gd name="T18" fmla="*/ 315 w 2165"/>
              <a:gd name="T19" fmla="*/ 237 h 1453"/>
              <a:gd name="T20" fmla="*/ 294 w 2165"/>
              <a:gd name="T21" fmla="*/ 182 h 1453"/>
              <a:gd name="T22" fmla="*/ 271 w 2165"/>
              <a:gd name="T23" fmla="*/ 174 h 1453"/>
              <a:gd name="T24" fmla="*/ 237 w 2165"/>
              <a:gd name="T25" fmla="*/ 170 h 1453"/>
              <a:gd name="T26" fmla="*/ 229 w 2165"/>
              <a:gd name="T27" fmla="*/ 165 h 1453"/>
              <a:gd name="T28" fmla="*/ 207 w 2165"/>
              <a:gd name="T29" fmla="*/ 146 h 1453"/>
              <a:gd name="T30" fmla="*/ 186 w 2165"/>
              <a:gd name="T31" fmla="*/ 131 h 1453"/>
              <a:gd name="T32" fmla="*/ 178 w 2165"/>
              <a:gd name="T33" fmla="*/ 145 h 1453"/>
              <a:gd name="T34" fmla="*/ 148 w 2165"/>
              <a:gd name="T35" fmla="*/ 158 h 1453"/>
              <a:gd name="T36" fmla="*/ 105 w 2165"/>
              <a:gd name="T37" fmla="*/ 164 h 1453"/>
              <a:gd name="T38" fmla="*/ 58 w 2165"/>
              <a:gd name="T39" fmla="*/ 160 h 1453"/>
              <a:gd name="T40" fmla="*/ 22 w 2165"/>
              <a:gd name="T41" fmla="*/ 154 h 1453"/>
              <a:gd name="T42" fmla="*/ 33 w 2165"/>
              <a:gd name="T43" fmla="*/ 140 h 1453"/>
              <a:gd name="T44" fmla="*/ 32 w 2165"/>
              <a:gd name="T45" fmla="*/ 130 h 1453"/>
              <a:gd name="T46" fmla="*/ 0 w 2165"/>
              <a:gd name="T47" fmla="*/ 82 h 1453"/>
              <a:gd name="T48" fmla="*/ 32 w 2165"/>
              <a:gd name="T49" fmla="*/ 18 h 1453"/>
              <a:gd name="T50" fmla="*/ 38 w 2165"/>
              <a:gd name="T51" fmla="*/ 50 h 1453"/>
              <a:gd name="T52" fmla="*/ 45 w 2165"/>
              <a:gd name="T53" fmla="*/ 77 h 1453"/>
              <a:gd name="T54" fmla="*/ 62 w 2165"/>
              <a:gd name="T55" fmla="*/ 78 h 1453"/>
              <a:gd name="T56" fmla="*/ 61 w 2165"/>
              <a:gd name="T57" fmla="*/ 25 h 1453"/>
              <a:gd name="T58" fmla="*/ 94 w 2165"/>
              <a:gd name="T59" fmla="*/ 11 h 1453"/>
              <a:gd name="T60" fmla="*/ 120 w 2165"/>
              <a:gd name="T61" fmla="*/ 2 h 1453"/>
              <a:gd name="T62" fmla="*/ 163 w 2165"/>
              <a:gd name="T63" fmla="*/ 15 h 1453"/>
              <a:gd name="T64" fmla="*/ 178 w 2165"/>
              <a:gd name="T65" fmla="*/ 28 h 1453"/>
              <a:gd name="T66" fmla="*/ 201 w 2165"/>
              <a:gd name="T67" fmla="*/ 38 h 1453"/>
              <a:gd name="T68" fmla="*/ 230 w 2165"/>
              <a:gd name="T69" fmla="*/ 48 h 1453"/>
              <a:gd name="T70" fmla="*/ 259 w 2165"/>
              <a:gd name="T71" fmla="*/ 55 h 1453"/>
              <a:gd name="T72" fmla="*/ 288 w 2165"/>
              <a:gd name="T73" fmla="*/ 58 h 1453"/>
              <a:gd name="T74" fmla="*/ 309 w 2165"/>
              <a:gd name="T75" fmla="*/ 70 h 1453"/>
              <a:gd name="T76" fmla="*/ 339 w 2165"/>
              <a:gd name="T77" fmla="*/ 76 h 1453"/>
              <a:gd name="T78" fmla="*/ 356 w 2165"/>
              <a:gd name="T79" fmla="*/ 93 h 1453"/>
              <a:gd name="T80" fmla="*/ 355 w 2165"/>
              <a:gd name="T81" fmla="*/ 120 h 1453"/>
              <a:gd name="T82" fmla="*/ 413 w 2165"/>
              <a:gd name="T83" fmla="*/ 124 h 1453"/>
              <a:gd name="T84" fmla="*/ 441 w 2165"/>
              <a:gd name="T85" fmla="*/ 133 h 1453"/>
              <a:gd name="T86" fmla="*/ 492 w 2165"/>
              <a:gd name="T87" fmla="*/ 133 h 1453"/>
              <a:gd name="T88" fmla="*/ 502 w 2165"/>
              <a:gd name="T89" fmla="*/ 154 h 1453"/>
              <a:gd name="T90" fmla="*/ 503 w 2165"/>
              <a:gd name="T91" fmla="*/ 183 h 1453"/>
              <a:gd name="T92" fmla="*/ 507 w 2165"/>
              <a:gd name="T93" fmla="*/ 207 h 1453"/>
              <a:gd name="T94" fmla="*/ 480 w 2165"/>
              <a:gd name="T95" fmla="*/ 222 h 1453"/>
              <a:gd name="T96" fmla="*/ 448 w 2165"/>
              <a:gd name="T97" fmla="*/ 205 h 1453"/>
              <a:gd name="T98" fmla="*/ 448 w 2165"/>
              <a:gd name="T99" fmla="*/ 241 h 1453"/>
              <a:gd name="T100" fmla="*/ 488 w 2165"/>
              <a:gd name="T101" fmla="*/ 245 h 1453"/>
              <a:gd name="T102" fmla="*/ 508 w 2165"/>
              <a:gd name="T103" fmla="*/ 262 h 1453"/>
              <a:gd name="T104" fmla="*/ 530 w 2165"/>
              <a:gd name="T105" fmla="*/ 280 h 1453"/>
              <a:gd name="T106" fmla="*/ 535 w 2165"/>
              <a:gd name="T107" fmla="*/ 296 h 1453"/>
              <a:gd name="T108" fmla="*/ 538 w 2165"/>
              <a:gd name="T109" fmla="*/ 308 h 1453"/>
              <a:gd name="T110" fmla="*/ 535 w 2165"/>
              <a:gd name="T111" fmla="*/ 315 h 1453"/>
              <a:gd name="T112" fmla="*/ 498 w 2165"/>
              <a:gd name="T113" fmla="*/ 310 h 1453"/>
              <a:gd name="T114" fmla="*/ 469 w 2165"/>
              <a:gd name="T115" fmla="*/ 311 h 1453"/>
              <a:gd name="T116" fmla="*/ 497 w 2165"/>
              <a:gd name="T117" fmla="*/ 331 h 1453"/>
              <a:gd name="T118" fmla="*/ 541 w 2165"/>
              <a:gd name="T119" fmla="*/ 351 h 1453"/>
              <a:gd name="T120" fmla="*/ 475 w 2165"/>
              <a:gd name="T121" fmla="*/ 363 h 1453"/>
              <a:gd name="T122" fmla="*/ 440 w 2165"/>
              <a:gd name="T123" fmla="*/ 362 h 1453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165"/>
              <a:gd name="T187" fmla="*/ 0 h 1453"/>
              <a:gd name="T188" fmla="*/ 2165 w 2165"/>
              <a:gd name="T189" fmla="*/ 1453 h 1453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165" h="1453">
                <a:moveTo>
                  <a:pt x="1674" y="1443"/>
                </a:moveTo>
                <a:lnTo>
                  <a:pt x="1637" y="1424"/>
                </a:lnTo>
                <a:lnTo>
                  <a:pt x="1622" y="1415"/>
                </a:lnTo>
                <a:lnTo>
                  <a:pt x="1618" y="1407"/>
                </a:lnTo>
                <a:lnTo>
                  <a:pt x="1618" y="1399"/>
                </a:lnTo>
                <a:lnTo>
                  <a:pt x="1618" y="1378"/>
                </a:lnTo>
                <a:lnTo>
                  <a:pt x="1618" y="1370"/>
                </a:lnTo>
                <a:lnTo>
                  <a:pt x="1610" y="1361"/>
                </a:lnTo>
                <a:lnTo>
                  <a:pt x="1603" y="1353"/>
                </a:lnTo>
                <a:lnTo>
                  <a:pt x="1591" y="1349"/>
                </a:lnTo>
                <a:lnTo>
                  <a:pt x="1576" y="1353"/>
                </a:lnTo>
                <a:lnTo>
                  <a:pt x="1564" y="1363"/>
                </a:lnTo>
                <a:lnTo>
                  <a:pt x="1553" y="1370"/>
                </a:lnTo>
                <a:lnTo>
                  <a:pt x="1543" y="1374"/>
                </a:lnTo>
                <a:lnTo>
                  <a:pt x="1528" y="1370"/>
                </a:lnTo>
                <a:lnTo>
                  <a:pt x="1516" y="1363"/>
                </a:lnTo>
                <a:lnTo>
                  <a:pt x="1482" y="1342"/>
                </a:lnTo>
                <a:lnTo>
                  <a:pt x="1451" y="1313"/>
                </a:lnTo>
                <a:lnTo>
                  <a:pt x="1426" y="1299"/>
                </a:lnTo>
                <a:lnTo>
                  <a:pt x="1414" y="1296"/>
                </a:lnTo>
                <a:lnTo>
                  <a:pt x="1407" y="1296"/>
                </a:lnTo>
                <a:lnTo>
                  <a:pt x="1391" y="1299"/>
                </a:lnTo>
                <a:lnTo>
                  <a:pt x="1376" y="1303"/>
                </a:lnTo>
                <a:lnTo>
                  <a:pt x="1368" y="1299"/>
                </a:lnTo>
                <a:lnTo>
                  <a:pt x="1361" y="1296"/>
                </a:lnTo>
                <a:lnTo>
                  <a:pt x="1342" y="1299"/>
                </a:lnTo>
                <a:lnTo>
                  <a:pt x="1334" y="1303"/>
                </a:lnTo>
                <a:lnTo>
                  <a:pt x="1330" y="1309"/>
                </a:lnTo>
                <a:lnTo>
                  <a:pt x="1330" y="1332"/>
                </a:lnTo>
                <a:lnTo>
                  <a:pt x="1330" y="1338"/>
                </a:lnTo>
                <a:lnTo>
                  <a:pt x="1322" y="1342"/>
                </a:lnTo>
                <a:lnTo>
                  <a:pt x="1313" y="1342"/>
                </a:lnTo>
                <a:lnTo>
                  <a:pt x="1297" y="1342"/>
                </a:lnTo>
                <a:lnTo>
                  <a:pt x="1267" y="1334"/>
                </a:lnTo>
                <a:lnTo>
                  <a:pt x="1244" y="1332"/>
                </a:lnTo>
                <a:lnTo>
                  <a:pt x="1244" y="1363"/>
                </a:lnTo>
                <a:lnTo>
                  <a:pt x="1240" y="1378"/>
                </a:lnTo>
                <a:lnTo>
                  <a:pt x="1232" y="1390"/>
                </a:lnTo>
                <a:lnTo>
                  <a:pt x="1224" y="1403"/>
                </a:lnTo>
                <a:lnTo>
                  <a:pt x="1209" y="1411"/>
                </a:lnTo>
                <a:lnTo>
                  <a:pt x="1196" y="1420"/>
                </a:lnTo>
                <a:lnTo>
                  <a:pt x="1180" y="1428"/>
                </a:lnTo>
                <a:lnTo>
                  <a:pt x="1161" y="1432"/>
                </a:lnTo>
                <a:lnTo>
                  <a:pt x="1142" y="1432"/>
                </a:lnTo>
                <a:lnTo>
                  <a:pt x="1123" y="1432"/>
                </a:lnTo>
                <a:lnTo>
                  <a:pt x="1104" y="1424"/>
                </a:lnTo>
                <a:lnTo>
                  <a:pt x="1088" y="1418"/>
                </a:lnTo>
                <a:lnTo>
                  <a:pt x="1079" y="1407"/>
                </a:lnTo>
                <a:lnTo>
                  <a:pt x="1067" y="1392"/>
                </a:lnTo>
                <a:lnTo>
                  <a:pt x="1063" y="1378"/>
                </a:lnTo>
                <a:lnTo>
                  <a:pt x="1059" y="1361"/>
                </a:lnTo>
                <a:lnTo>
                  <a:pt x="1056" y="1345"/>
                </a:lnTo>
                <a:lnTo>
                  <a:pt x="1059" y="1334"/>
                </a:lnTo>
                <a:lnTo>
                  <a:pt x="1063" y="1324"/>
                </a:lnTo>
                <a:lnTo>
                  <a:pt x="1075" y="1309"/>
                </a:lnTo>
                <a:lnTo>
                  <a:pt x="1084" y="1299"/>
                </a:lnTo>
                <a:lnTo>
                  <a:pt x="1088" y="1292"/>
                </a:lnTo>
                <a:lnTo>
                  <a:pt x="1092" y="1284"/>
                </a:lnTo>
                <a:lnTo>
                  <a:pt x="1088" y="1274"/>
                </a:lnTo>
                <a:lnTo>
                  <a:pt x="1084" y="1267"/>
                </a:lnTo>
                <a:lnTo>
                  <a:pt x="1082" y="1259"/>
                </a:lnTo>
                <a:lnTo>
                  <a:pt x="1079" y="1248"/>
                </a:lnTo>
                <a:lnTo>
                  <a:pt x="1115" y="1242"/>
                </a:lnTo>
                <a:lnTo>
                  <a:pt x="1153" y="1242"/>
                </a:lnTo>
                <a:lnTo>
                  <a:pt x="1180" y="1238"/>
                </a:lnTo>
                <a:lnTo>
                  <a:pt x="1201" y="1234"/>
                </a:lnTo>
                <a:lnTo>
                  <a:pt x="1221" y="1223"/>
                </a:lnTo>
                <a:lnTo>
                  <a:pt x="1240" y="1213"/>
                </a:lnTo>
                <a:lnTo>
                  <a:pt x="1255" y="1198"/>
                </a:lnTo>
                <a:lnTo>
                  <a:pt x="1267" y="1184"/>
                </a:lnTo>
                <a:lnTo>
                  <a:pt x="1290" y="1155"/>
                </a:lnTo>
                <a:lnTo>
                  <a:pt x="1294" y="1152"/>
                </a:lnTo>
                <a:lnTo>
                  <a:pt x="1297" y="1148"/>
                </a:lnTo>
                <a:lnTo>
                  <a:pt x="1313" y="1144"/>
                </a:lnTo>
                <a:lnTo>
                  <a:pt x="1326" y="1136"/>
                </a:lnTo>
                <a:lnTo>
                  <a:pt x="1330" y="1134"/>
                </a:lnTo>
                <a:lnTo>
                  <a:pt x="1330" y="1127"/>
                </a:lnTo>
                <a:lnTo>
                  <a:pt x="1330" y="1119"/>
                </a:lnTo>
                <a:lnTo>
                  <a:pt x="1326" y="1111"/>
                </a:lnTo>
                <a:lnTo>
                  <a:pt x="1315" y="1106"/>
                </a:lnTo>
                <a:lnTo>
                  <a:pt x="1301" y="1098"/>
                </a:lnTo>
                <a:lnTo>
                  <a:pt x="1282" y="1090"/>
                </a:lnTo>
                <a:lnTo>
                  <a:pt x="1263" y="1086"/>
                </a:lnTo>
                <a:lnTo>
                  <a:pt x="1247" y="1079"/>
                </a:lnTo>
                <a:lnTo>
                  <a:pt x="1232" y="1069"/>
                </a:lnTo>
                <a:lnTo>
                  <a:pt x="1232" y="1061"/>
                </a:lnTo>
                <a:lnTo>
                  <a:pt x="1228" y="1050"/>
                </a:lnTo>
                <a:lnTo>
                  <a:pt x="1232" y="1029"/>
                </a:lnTo>
                <a:lnTo>
                  <a:pt x="1240" y="1004"/>
                </a:lnTo>
                <a:lnTo>
                  <a:pt x="1259" y="950"/>
                </a:lnTo>
                <a:lnTo>
                  <a:pt x="1278" y="896"/>
                </a:lnTo>
                <a:lnTo>
                  <a:pt x="1286" y="868"/>
                </a:lnTo>
                <a:lnTo>
                  <a:pt x="1290" y="843"/>
                </a:lnTo>
                <a:lnTo>
                  <a:pt x="1286" y="835"/>
                </a:lnTo>
                <a:lnTo>
                  <a:pt x="1274" y="820"/>
                </a:lnTo>
                <a:lnTo>
                  <a:pt x="1244" y="795"/>
                </a:lnTo>
                <a:lnTo>
                  <a:pt x="1188" y="749"/>
                </a:lnTo>
                <a:lnTo>
                  <a:pt x="1180" y="737"/>
                </a:lnTo>
                <a:lnTo>
                  <a:pt x="1173" y="731"/>
                </a:lnTo>
                <a:lnTo>
                  <a:pt x="1169" y="720"/>
                </a:lnTo>
                <a:lnTo>
                  <a:pt x="1161" y="716"/>
                </a:lnTo>
                <a:lnTo>
                  <a:pt x="1150" y="712"/>
                </a:lnTo>
                <a:lnTo>
                  <a:pt x="1142" y="708"/>
                </a:lnTo>
                <a:lnTo>
                  <a:pt x="1123" y="712"/>
                </a:lnTo>
                <a:lnTo>
                  <a:pt x="1107" y="708"/>
                </a:lnTo>
                <a:lnTo>
                  <a:pt x="1100" y="708"/>
                </a:lnTo>
                <a:lnTo>
                  <a:pt x="1096" y="702"/>
                </a:lnTo>
                <a:lnTo>
                  <a:pt x="1082" y="699"/>
                </a:lnTo>
                <a:lnTo>
                  <a:pt x="1067" y="699"/>
                </a:lnTo>
                <a:lnTo>
                  <a:pt x="1052" y="695"/>
                </a:lnTo>
                <a:lnTo>
                  <a:pt x="1036" y="691"/>
                </a:lnTo>
                <a:lnTo>
                  <a:pt x="1021" y="679"/>
                </a:lnTo>
                <a:lnTo>
                  <a:pt x="1006" y="670"/>
                </a:lnTo>
                <a:lnTo>
                  <a:pt x="990" y="658"/>
                </a:lnTo>
                <a:lnTo>
                  <a:pt x="969" y="654"/>
                </a:lnTo>
                <a:lnTo>
                  <a:pt x="961" y="666"/>
                </a:lnTo>
                <a:lnTo>
                  <a:pt x="946" y="683"/>
                </a:lnTo>
                <a:lnTo>
                  <a:pt x="935" y="704"/>
                </a:lnTo>
                <a:lnTo>
                  <a:pt x="927" y="720"/>
                </a:lnTo>
                <a:lnTo>
                  <a:pt x="915" y="716"/>
                </a:lnTo>
                <a:lnTo>
                  <a:pt x="904" y="708"/>
                </a:lnTo>
                <a:lnTo>
                  <a:pt x="896" y="699"/>
                </a:lnTo>
                <a:lnTo>
                  <a:pt x="892" y="683"/>
                </a:lnTo>
                <a:lnTo>
                  <a:pt x="892" y="676"/>
                </a:lnTo>
                <a:lnTo>
                  <a:pt x="900" y="670"/>
                </a:lnTo>
                <a:lnTo>
                  <a:pt x="915" y="662"/>
                </a:lnTo>
                <a:lnTo>
                  <a:pt x="935" y="654"/>
                </a:lnTo>
                <a:lnTo>
                  <a:pt x="938" y="651"/>
                </a:lnTo>
                <a:lnTo>
                  <a:pt x="942" y="645"/>
                </a:lnTo>
                <a:lnTo>
                  <a:pt x="938" y="633"/>
                </a:lnTo>
                <a:lnTo>
                  <a:pt x="927" y="622"/>
                </a:lnTo>
                <a:lnTo>
                  <a:pt x="915" y="616"/>
                </a:lnTo>
                <a:lnTo>
                  <a:pt x="896" y="608"/>
                </a:lnTo>
                <a:lnTo>
                  <a:pt x="833" y="593"/>
                </a:lnTo>
                <a:lnTo>
                  <a:pt x="825" y="587"/>
                </a:lnTo>
                <a:lnTo>
                  <a:pt x="818" y="580"/>
                </a:lnTo>
                <a:lnTo>
                  <a:pt x="814" y="572"/>
                </a:lnTo>
                <a:lnTo>
                  <a:pt x="806" y="568"/>
                </a:lnTo>
                <a:lnTo>
                  <a:pt x="794" y="576"/>
                </a:lnTo>
                <a:lnTo>
                  <a:pt x="760" y="576"/>
                </a:lnTo>
                <a:lnTo>
                  <a:pt x="760" y="555"/>
                </a:lnTo>
                <a:lnTo>
                  <a:pt x="756" y="539"/>
                </a:lnTo>
                <a:lnTo>
                  <a:pt x="752" y="532"/>
                </a:lnTo>
                <a:lnTo>
                  <a:pt x="741" y="526"/>
                </a:lnTo>
                <a:lnTo>
                  <a:pt x="723" y="522"/>
                </a:lnTo>
                <a:lnTo>
                  <a:pt x="708" y="518"/>
                </a:lnTo>
                <a:lnTo>
                  <a:pt x="689" y="514"/>
                </a:lnTo>
                <a:lnTo>
                  <a:pt x="670" y="514"/>
                </a:lnTo>
                <a:lnTo>
                  <a:pt x="670" y="530"/>
                </a:lnTo>
                <a:lnTo>
                  <a:pt x="685" y="532"/>
                </a:lnTo>
                <a:lnTo>
                  <a:pt x="700" y="543"/>
                </a:lnTo>
                <a:lnTo>
                  <a:pt x="708" y="559"/>
                </a:lnTo>
                <a:lnTo>
                  <a:pt x="712" y="580"/>
                </a:lnTo>
                <a:lnTo>
                  <a:pt x="712" y="587"/>
                </a:lnTo>
                <a:lnTo>
                  <a:pt x="708" y="589"/>
                </a:lnTo>
                <a:lnTo>
                  <a:pt x="693" y="601"/>
                </a:lnTo>
                <a:lnTo>
                  <a:pt x="677" y="608"/>
                </a:lnTo>
                <a:lnTo>
                  <a:pt x="666" y="612"/>
                </a:lnTo>
                <a:lnTo>
                  <a:pt x="564" y="608"/>
                </a:lnTo>
                <a:lnTo>
                  <a:pt x="572" y="618"/>
                </a:lnTo>
                <a:lnTo>
                  <a:pt x="580" y="626"/>
                </a:lnTo>
                <a:lnTo>
                  <a:pt x="591" y="633"/>
                </a:lnTo>
                <a:lnTo>
                  <a:pt x="599" y="641"/>
                </a:lnTo>
                <a:lnTo>
                  <a:pt x="587" y="645"/>
                </a:lnTo>
                <a:lnTo>
                  <a:pt x="576" y="645"/>
                </a:lnTo>
                <a:lnTo>
                  <a:pt x="556" y="641"/>
                </a:lnTo>
                <a:lnTo>
                  <a:pt x="537" y="645"/>
                </a:lnTo>
                <a:lnTo>
                  <a:pt x="518" y="647"/>
                </a:lnTo>
                <a:lnTo>
                  <a:pt x="493" y="651"/>
                </a:lnTo>
                <a:lnTo>
                  <a:pt x="462" y="654"/>
                </a:lnTo>
                <a:lnTo>
                  <a:pt x="420" y="658"/>
                </a:lnTo>
                <a:lnTo>
                  <a:pt x="384" y="666"/>
                </a:lnTo>
                <a:lnTo>
                  <a:pt x="343" y="674"/>
                </a:lnTo>
                <a:lnTo>
                  <a:pt x="305" y="676"/>
                </a:lnTo>
                <a:lnTo>
                  <a:pt x="276" y="676"/>
                </a:lnTo>
                <a:lnTo>
                  <a:pt x="253" y="670"/>
                </a:lnTo>
                <a:lnTo>
                  <a:pt x="246" y="666"/>
                </a:lnTo>
                <a:lnTo>
                  <a:pt x="238" y="658"/>
                </a:lnTo>
                <a:lnTo>
                  <a:pt x="234" y="651"/>
                </a:lnTo>
                <a:lnTo>
                  <a:pt x="230" y="641"/>
                </a:lnTo>
                <a:lnTo>
                  <a:pt x="211" y="645"/>
                </a:lnTo>
                <a:lnTo>
                  <a:pt x="199" y="647"/>
                </a:lnTo>
                <a:lnTo>
                  <a:pt x="188" y="654"/>
                </a:lnTo>
                <a:lnTo>
                  <a:pt x="176" y="654"/>
                </a:lnTo>
                <a:lnTo>
                  <a:pt x="155" y="654"/>
                </a:lnTo>
                <a:lnTo>
                  <a:pt x="136" y="647"/>
                </a:lnTo>
                <a:lnTo>
                  <a:pt x="117" y="641"/>
                </a:lnTo>
                <a:lnTo>
                  <a:pt x="102" y="630"/>
                </a:lnTo>
                <a:lnTo>
                  <a:pt x="86" y="616"/>
                </a:lnTo>
                <a:lnTo>
                  <a:pt x="75" y="601"/>
                </a:lnTo>
                <a:lnTo>
                  <a:pt x="67" y="587"/>
                </a:lnTo>
                <a:lnTo>
                  <a:pt x="67" y="568"/>
                </a:lnTo>
                <a:lnTo>
                  <a:pt x="67" y="560"/>
                </a:lnTo>
                <a:lnTo>
                  <a:pt x="75" y="559"/>
                </a:lnTo>
                <a:lnTo>
                  <a:pt x="94" y="555"/>
                </a:lnTo>
                <a:lnTo>
                  <a:pt x="109" y="559"/>
                </a:lnTo>
                <a:lnTo>
                  <a:pt x="121" y="560"/>
                </a:lnTo>
                <a:lnTo>
                  <a:pt x="132" y="560"/>
                </a:lnTo>
                <a:lnTo>
                  <a:pt x="144" y="564"/>
                </a:lnTo>
                <a:lnTo>
                  <a:pt x="151" y="560"/>
                </a:lnTo>
                <a:lnTo>
                  <a:pt x="159" y="559"/>
                </a:lnTo>
                <a:lnTo>
                  <a:pt x="163" y="555"/>
                </a:lnTo>
                <a:lnTo>
                  <a:pt x="163" y="547"/>
                </a:lnTo>
                <a:lnTo>
                  <a:pt x="163" y="539"/>
                </a:lnTo>
                <a:lnTo>
                  <a:pt x="159" y="532"/>
                </a:lnTo>
                <a:lnTo>
                  <a:pt x="144" y="526"/>
                </a:lnTo>
                <a:lnTo>
                  <a:pt x="125" y="522"/>
                </a:lnTo>
                <a:lnTo>
                  <a:pt x="102" y="518"/>
                </a:lnTo>
                <a:lnTo>
                  <a:pt x="56" y="507"/>
                </a:lnTo>
                <a:lnTo>
                  <a:pt x="42" y="501"/>
                </a:lnTo>
                <a:lnTo>
                  <a:pt x="27" y="489"/>
                </a:lnTo>
                <a:lnTo>
                  <a:pt x="23" y="474"/>
                </a:lnTo>
                <a:lnTo>
                  <a:pt x="15" y="457"/>
                </a:lnTo>
                <a:lnTo>
                  <a:pt x="4" y="416"/>
                </a:lnTo>
                <a:lnTo>
                  <a:pt x="0" y="370"/>
                </a:lnTo>
                <a:lnTo>
                  <a:pt x="0" y="330"/>
                </a:lnTo>
                <a:lnTo>
                  <a:pt x="0" y="299"/>
                </a:lnTo>
                <a:lnTo>
                  <a:pt x="8" y="276"/>
                </a:lnTo>
                <a:lnTo>
                  <a:pt x="8" y="205"/>
                </a:lnTo>
                <a:lnTo>
                  <a:pt x="34" y="159"/>
                </a:lnTo>
                <a:lnTo>
                  <a:pt x="46" y="132"/>
                </a:lnTo>
                <a:lnTo>
                  <a:pt x="59" y="111"/>
                </a:lnTo>
                <a:lnTo>
                  <a:pt x="79" y="94"/>
                </a:lnTo>
                <a:lnTo>
                  <a:pt x="98" y="82"/>
                </a:lnTo>
                <a:lnTo>
                  <a:pt x="128" y="73"/>
                </a:lnTo>
                <a:lnTo>
                  <a:pt x="159" y="69"/>
                </a:lnTo>
                <a:lnTo>
                  <a:pt x="176" y="73"/>
                </a:lnTo>
                <a:lnTo>
                  <a:pt x="180" y="73"/>
                </a:lnTo>
                <a:lnTo>
                  <a:pt x="188" y="69"/>
                </a:lnTo>
                <a:lnTo>
                  <a:pt x="188" y="94"/>
                </a:lnTo>
                <a:lnTo>
                  <a:pt x="184" y="111"/>
                </a:lnTo>
                <a:lnTo>
                  <a:pt x="180" y="127"/>
                </a:lnTo>
                <a:lnTo>
                  <a:pt x="167" y="165"/>
                </a:lnTo>
                <a:lnTo>
                  <a:pt x="151" y="201"/>
                </a:lnTo>
                <a:lnTo>
                  <a:pt x="148" y="219"/>
                </a:lnTo>
                <a:lnTo>
                  <a:pt x="148" y="242"/>
                </a:lnTo>
                <a:lnTo>
                  <a:pt x="148" y="255"/>
                </a:lnTo>
                <a:lnTo>
                  <a:pt x="151" y="267"/>
                </a:lnTo>
                <a:lnTo>
                  <a:pt x="155" y="273"/>
                </a:lnTo>
                <a:lnTo>
                  <a:pt x="163" y="280"/>
                </a:lnTo>
                <a:lnTo>
                  <a:pt x="176" y="292"/>
                </a:lnTo>
                <a:lnTo>
                  <a:pt x="176" y="299"/>
                </a:lnTo>
                <a:lnTo>
                  <a:pt x="180" y="309"/>
                </a:lnTo>
                <a:lnTo>
                  <a:pt x="184" y="334"/>
                </a:lnTo>
                <a:lnTo>
                  <a:pt x="188" y="359"/>
                </a:lnTo>
                <a:lnTo>
                  <a:pt x="192" y="367"/>
                </a:lnTo>
                <a:lnTo>
                  <a:pt x="199" y="367"/>
                </a:lnTo>
                <a:lnTo>
                  <a:pt x="215" y="363"/>
                </a:lnTo>
                <a:lnTo>
                  <a:pt x="230" y="353"/>
                </a:lnTo>
                <a:lnTo>
                  <a:pt x="242" y="338"/>
                </a:lnTo>
                <a:lnTo>
                  <a:pt x="246" y="328"/>
                </a:lnTo>
                <a:lnTo>
                  <a:pt x="246" y="313"/>
                </a:lnTo>
                <a:lnTo>
                  <a:pt x="238" y="301"/>
                </a:lnTo>
                <a:lnTo>
                  <a:pt x="222" y="276"/>
                </a:lnTo>
                <a:lnTo>
                  <a:pt x="203" y="248"/>
                </a:lnTo>
                <a:lnTo>
                  <a:pt x="199" y="234"/>
                </a:lnTo>
                <a:lnTo>
                  <a:pt x="196" y="217"/>
                </a:lnTo>
                <a:lnTo>
                  <a:pt x="199" y="188"/>
                </a:lnTo>
                <a:lnTo>
                  <a:pt x="207" y="159"/>
                </a:lnTo>
                <a:lnTo>
                  <a:pt x="222" y="130"/>
                </a:lnTo>
                <a:lnTo>
                  <a:pt x="242" y="102"/>
                </a:lnTo>
                <a:lnTo>
                  <a:pt x="261" y="75"/>
                </a:lnTo>
                <a:lnTo>
                  <a:pt x="286" y="58"/>
                </a:lnTo>
                <a:lnTo>
                  <a:pt x="313" y="44"/>
                </a:lnTo>
                <a:lnTo>
                  <a:pt x="328" y="40"/>
                </a:lnTo>
                <a:lnTo>
                  <a:pt x="343" y="40"/>
                </a:lnTo>
                <a:lnTo>
                  <a:pt x="357" y="40"/>
                </a:lnTo>
                <a:lnTo>
                  <a:pt x="365" y="44"/>
                </a:lnTo>
                <a:lnTo>
                  <a:pt x="368" y="46"/>
                </a:lnTo>
                <a:lnTo>
                  <a:pt x="376" y="46"/>
                </a:lnTo>
                <a:lnTo>
                  <a:pt x="384" y="46"/>
                </a:lnTo>
                <a:lnTo>
                  <a:pt x="388" y="44"/>
                </a:lnTo>
                <a:lnTo>
                  <a:pt x="391" y="33"/>
                </a:lnTo>
                <a:lnTo>
                  <a:pt x="395" y="17"/>
                </a:lnTo>
                <a:lnTo>
                  <a:pt x="397" y="15"/>
                </a:lnTo>
                <a:lnTo>
                  <a:pt x="405" y="15"/>
                </a:lnTo>
                <a:lnTo>
                  <a:pt x="439" y="15"/>
                </a:lnTo>
                <a:lnTo>
                  <a:pt x="459" y="11"/>
                </a:lnTo>
                <a:lnTo>
                  <a:pt x="478" y="8"/>
                </a:lnTo>
                <a:lnTo>
                  <a:pt x="501" y="0"/>
                </a:lnTo>
                <a:lnTo>
                  <a:pt x="522" y="0"/>
                </a:lnTo>
                <a:lnTo>
                  <a:pt x="541" y="0"/>
                </a:lnTo>
                <a:lnTo>
                  <a:pt x="564" y="8"/>
                </a:lnTo>
                <a:lnTo>
                  <a:pt x="583" y="15"/>
                </a:lnTo>
                <a:lnTo>
                  <a:pt x="606" y="25"/>
                </a:lnTo>
                <a:lnTo>
                  <a:pt x="626" y="36"/>
                </a:lnTo>
                <a:lnTo>
                  <a:pt x="639" y="50"/>
                </a:lnTo>
                <a:lnTo>
                  <a:pt x="651" y="61"/>
                </a:lnTo>
                <a:lnTo>
                  <a:pt x="654" y="75"/>
                </a:lnTo>
                <a:lnTo>
                  <a:pt x="651" y="82"/>
                </a:lnTo>
                <a:lnTo>
                  <a:pt x="643" y="90"/>
                </a:lnTo>
                <a:lnTo>
                  <a:pt x="635" y="94"/>
                </a:lnTo>
                <a:lnTo>
                  <a:pt x="631" y="104"/>
                </a:lnTo>
                <a:lnTo>
                  <a:pt x="635" y="111"/>
                </a:lnTo>
                <a:lnTo>
                  <a:pt x="643" y="115"/>
                </a:lnTo>
                <a:lnTo>
                  <a:pt x="662" y="115"/>
                </a:lnTo>
                <a:lnTo>
                  <a:pt x="712" y="115"/>
                </a:lnTo>
                <a:lnTo>
                  <a:pt x="723" y="119"/>
                </a:lnTo>
                <a:lnTo>
                  <a:pt x="735" y="127"/>
                </a:lnTo>
                <a:lnTo>
                  <a:pt x="745" y="132"/>
                </a:lnTo>
                <a:lnTo>
                  <a:pt x="760" y="136"/>
                </a:lnTo>
                <a:lnTo>
                  <a:pt x="764" y="148"/>
                </a:lnTo>
                <a:lnTo>
                  <a:pt x="771" y="155"/>
                </a:lnTo>
                <a:lnTo>
                  <a:pt x="783" y="155"/>
                </a:lnTo>
                <a:lnTo>
                  <a:pt x="794" y="155"/>
                </a:lnTo>
                <a:lnTo>
                  <a:pt x="802" y="155"/>
                </a:lnTo>
                <a:lnTo>
                  <a:pt x="810" y="159"/>
                </a:lnTo>
                <a:lnTo>
                  <a:pt x="814" y="169"/>
                </a:lnTo>
                <a:lnTo>
                  <a:pt x="818" y="180"/>
                </a:lnTo>
                <a:lnTo>
                  <a:pt x="821" y="188"/>
                </a:lnTo>
                <a:lnTo>
                  <a:pt x="825" y="188"/>
                </a:lnTo>
                <a:lnTo>
                  <a:pt x="848" y="194"/>
                </a:lnTo>
                <a:lnTo>
                  <a:pt x="866" y="194"/>
                </a:lnTo>
                <a:lnTo>
                  <a:pt x="904" y="194"/>
                </a:lnTo>
                <a:lnTo>
                  <a:pt x="919" y="194"/>
                </a:lnTo>
                <a:lnTo>
                  <a:pt x="938" y="188"/>
                </a:lnTo>
                <a:lnTo>
                  <a:pt x="954" y="184"/>
                </a:lnTo>
                <a:lnTo>
                  <a:pt x="971" y="184"/>
                </a:lnTo>
                <a:lnTo>
                  <a:pt x="986" y="184"/>
                </a:lnTo>
                <a:lnTo>
                  <a:pt x="998" y="188"/>
                </a:lnTo>
                <a:lnTo>
                  <a:pt x="1013" y="194"/>
                </a:lnTo>
                <a:lnTo>
                  <a:pt x="1021" y="217"/>
                </a:lnTo>
                <a:lnTo>
                  <a:pt x="1025" y="223"/>
                </a:lnTo>
                <a:lnTo>
                  <a:pt x="1036" y="223"/>
                </a:lnTo>
                <a:lnTo>
                  <a:pt x="1056" y="223"/>
                </a:lnTo>
                <a:lnTo>
                  <a:pt x="1067" y="248"/>
                </a:lnTo>
                <a:lnTo>
                  <a:pt x="1075" y="259"/>
                </a:lnTo>
                <a:lnTo>
                  <a:pt x="1079" y="263"/>
                </a:lnTo>
                <a:lnTo>
                  <a:pt x="1084" y="267"/>
                </a:lnTo>
                <a:lnTo>
                  <a:pt x="1100" y="259"/>
                </a:lnTo>
                <a:lnTo>
                  <a:pt x="1119" y="248"/>
                </a:lnTo>
                <a:lnTo>
                  <a:pt x="1142" y="238"/>
                </a:lnTo>
                <a:lnTo>
                  <a:pt x="1150" y="234"/>
                </a:lnTo>
                <a:lnTo>
                  <a:pt x="1161" y="234"/>
                </a:lnTo>
                <a:lnTo>
                  <a:pt x="1192" y="234"/>
                </a:lnTo>
                <a:lnTo>
                  <a:pt x="1201" y="234"/>
                </a:lnTo>
                <a:lnTo>
                  <a:pt x="1217" y="238"/>
                </a:lnTo>
                <a:lnTo>
                  <a:pt x="1221" y="242"/>
                </a:lnTo>
                <a:lnTo>
                  <a:pt x="1224" y="248"/>
                </a:lnTo>
                <a:lnTo>
                  <a:pt x="1228" y="263"/>
                </a:lnTo>
                <a:lnTo>
                  <a:pt x="1232" y="273"/>
                </a:lnTo>
                <a:lnTo>
                  <a:pt x="1236" y="280"/>
                </a:lnTo>
                <a:lnTo>
                  <a:pt x="1244" y="280"/>
                </a:lnTo>
                <a:lnTo>
                  <a:pt x="1251" y="276"/>
                </a:lnTo>
                <a:lnTo>
                  <a:pt x="1259" y="273"/>
                </a:lnTo>
                <a:lnTo>
                  <a:pt x="1267" y="271"/>
                </a:lnTo>
                <a:lnTo>
                  <a:pt x="1274" y="271"/>
                </a:lnTo>
                <a:lnTo>
                  <a:pt x="1297" y="273"/>
                </a:lnTo>
                <a:lnTo>
                  <a:pt x="1322" y="284"/>
                </a:lnTo>
                <a:lnTo>
                  <a:pt x="1345" y="299"/>
                </a:lnTo>
                <a:lnTo>
                  <a:pt x="1353" y="305"/>
                </a:lnTo>
                <a:lnTo>
                  <a:pt x="1353" y="309"/>
                </a:lnTo>
                <a:lnTo>
                  <a:pt x="1349" y="320"/>
                </a:lnTo>
                <a:lnTo>
                  <a:pt x="1342" y="328"/>
                </a:lnTo>
                <a:lnTo>
                  <a:pt x="1334" y="334"/>
                </a:lnTo>
                <a:lnTo>
                  <a:pt x="1330" y="342"/>
                </a:lnTo>
                <a:lnTo>
                  <a:pt x="1338" y="345"/>
                </a:lnTo>
                <a:lnTo>
                  <a:pt x="1349" y="353"/>
                </a:lnTo>
                <a:lnTo>
                  <a:pt x="1384" y="363"/>
                </a:lnTo>
                <a:lnTo>
                  <a:pt x="1422" y="374"/>
                </a:lnTo>
                <a:lnTo>
                  <a:pt x="1439" y="382"/>
                </a:lnTo>
                <a:lnTo>
                  <a:pt x="1422" y="395"/>
                </a:lnTo>
                <a:lnTo>
                  <a:pt x="1403" y="403"/>
                </a:lnTo>
                <a:lnTo>
                  <a:pt x="1384" y="415"/>
                </a:lnTo>
                <a:lnTo>
                  <a:pt x="1365" y="424"/>
                </a:lnTo>
                <a:lnTo>
                  <a:pt x="1395" y="445"/>
                </a:lnTo>
                <a:lnTo>
                  <a:pt x="1407" y="457"/>
                </a:lnTo>
                <a:lnTo>
                  <a:pt x="1418" y="472"/>
                </a:lnTo>
                <a:lnTo>
                  <a:pt x="1418" y="482"/>
                </a:lnTo>
                <a:lnTo>
                  <a:pt x="1418" y="489"/>
                </a:lnTo>
                <a:lnTo>
                  <a:pt x="1422" y="497"/>
                </a:lnTo>
                <a:lnTo>
                  <a:pt x="1426" y="501"/>
                </a:lnTo>
                <a:lnTo>
                  <a:pt x="1478" y="507"/>
                </a:lnTo>
                <a:lnTo>
                  <a:pt x="1524" y="514"/>
                </a:lnTo>
                <a:lnTo>
                  <a:pt x="1557" y="511"/>
                </a:lnTo>
                <a:lnTo>
                  <a:pt x="1583" y="503"/>
                </a:lnTo>
                <a:lnTo>
                  <a:pt x="1649" y="489"/>
                </a:lnTo>
                <a:lnTo>
                  <a:pt x="1652" y="497"/>
                </a:lnTo>
                <a:lnTo>
                  <a:pt x="1656" y="501"/>
                </a:lnTo>
                <a:lnTo>
                  <a:pt x="1670" y="507"/>
                </a:lnTo>
                <a:lnTo>
                  <a:pt x="1689" y="511"/>
                </a:lnTo>
                <a:lnTo>
                  <a:pt x="1708" y="514"/>
                </a:lnTo>
                <a:lnTo>
                  <a:pt x="1735" y="514"/>
                </a:lnTo>
                <a:lnTo>
                  <a:pt x="1739" y="514"/>
                </a:lnTo>
                <a:lnTo>
                  <a:pt x="1743" y="518"/>
                </a:lnTo>
                <a:lnTo>
                  <a:pt x="1750" y="526"/>
                </a:lnTo>
                <a:lnTo>
                  <a:pt x="1762" y="535"/>
                </a:lnTo>
                <a:lnTo>
                  <a:pt x="1770" y="539"/>
                </a:lnTo>
                <a:lnTo>
                  <a:pt x="1775" y="539"/>
                </a:lnTo>
                <a:lnTo>
                  <a:pt x="1798" y="535"/>
                </a:lnTo>
                <a:lnTo>
                  <a:pt x="1829" y="526"/>
                </a:lnTo>
                <a:lnTo>
                  <a:pt x="1860" y="518"/>
                </a:lnTo>
                <a:lnTo>
                  <a:pt x="1889" y="514"/>
                </a:lnTo>
                <a:lnTo>
                  <a:pt x="1919" y="514"/>
                </a:lnTo>
                <a:lnTo>
                  <a:pt x="1950" y="526"/>
                </a:lnTo>
                <a:lnTo>
                  <a:pt x="1965" y="532"/>
                </a:lnTo>
                <a:lnTo>
                  <a:pt x="1981" y="539"/>
                </a:lnTo>
                <a:lnTo>
                  <a:pt x="1988" y="551"/>
                </a:lnTo>
                <a:lnTo>
                  <a:pt x="1992" y="559"/>
                </a:lnTo>
                <a:lnTo>
                  <a:pt x="1988" y="568"/>
                </a:lnTo>
                <a:lnTo>
                  <a:pt x="1985" y="576"/>
                </a:lnTo>
                <a:lnTo>
                  <a:pt x="1969" y="583"/>
                </a:lnTo>
                <a:lnTo>
                  <a:pt x="1985" y="587"/>
                </a:lnTo>
                <a:lnTo>
                  <a:pt x="2000" y="587"/>
                </a:lnTo>
                <a:lnTo>
                  <a:pt x="2006" y="616"/>
                </a:lnTo>
                <a:lnTo>
                  <a:pt x="2010" y="645"/>
                </a:lnTo>
                <a:lnTo>
                  <a:pt x="2006" y="651"/>
                </a:lnTo>
                <a:lnTo>
                  <a:pt x="2002" y="654"/>
                </a:lnTo>
                <a:lnTo>
                  <a:pt x="1996" y="662"/>
                </a:lnTo>
                <a:lnTo>
                  <a:pt x="2002" y="674"/>
                </a:lnTo>
                <a:lnTo>
                  <a:pt x="2006" y="687"/>
                </a:lnTo>
                <a:lnTo>
                  <a:pt x="2010" y="702"/>
                </a:lnTo>
                <a:lnTo>
                  <a:pt x="2013" y="720"/>
                </a:lnTo>
                <a:lnTo>
                  <a:pt x="2010" y="733"/>
                </a:lnTo>
                <a:lnTo>
                  <a:pt x="2006" y="741"/>
                </a:lnTo>
                <a:lnTo>
                  <a:pt x="1996" y="760"/>
                </a:lnTo>
                <a:lnTo>
                  <a:pt x="1985" y="770"/>
                </a:lnTo>
                <a:lnTo>
                  <a:pt x="1985" y="777"/>
                </a:lnTo>
                <a:lnTo>
                  <a:pt x="1981" y="781"/>
                </a:lnTo>
                <a:lnTo>
                  <a:pt x="1985" y="791"/>
                </a:lnTo>
                <a:lnTo>
                  <a:pt x="1988" y="802"/>
                </a:lnTo>
                <a:lnTo>
                  <a:pt x="2006" y="818"/>
                </a:lnTo>
                <a:lnTo>
                  <a:pt x="2025" y="831"/>
                </a:lnTo>
                <a:lnTo>
                  <a:pt x="2029" y="839"/>
                </a:lnTo>
                <a:lnTo>
                  <a:pt x="2033" y="848"/>
                </a:lnTo>
                <a:lnTo>
                  <a:pt x="2029" y="860"/>
                </a:lnTo>
                <a:lnTo>
                  <a:pt x="2021" y="868"/>
                </a:lnTo>
                <a:lnTo>
                  <a:pt x="2010" y="877"/>
                </a:lnTo>
                <a:lnTo>
                  <a:pt x="1996" y="881"/>
                </a:lnTo>
                <a:lnTo>
                  <a:pt x="1965" y="889"/>
                </a:lnTo>
                <a:lnTo>
                  <a:pt x="1938" y="892"/>
                </a:lnTo>
                <a:lnTo>
                  <a:pt x="1919" y="889"/>
                </a:lnTo>
                <a:lnTo>
                  <a:pt x="1896" y="881"/>
                </a:lnTo>
                <a:lnTo>
                  <a:pt x="1879" y="871"/>
                </a:lnTo>
                <a:lnTo>
                  <a:pt x="1860" y="860"/>
                </a:lnTo>
                <a:lnTo>
                  <a:pt x="1841" y="846"/>
                </a:lnTo>
                <a:lnTo>
                  <a:pt x="1829" y="827"/>
                </a:lnTo>
                <a:lnTo>
                  <a:pt x="1821" y="814"/>
                </a:lnTo>
                <a:lnTo>
                  <a:pt x="1818" y="795"/>
                </a:lnTo>
                <a:lnTo>
                  <a:pt x="1806" y="810"/>
                </a:lnTo>
                <a:lnTo>
                  <a:pt x="1791" y="820"/>
                </a:lnTo>
                <a:lnTo>
                  <a:pt x="1758" y="835"/>
                </a:lnTo>
                <a:lnTo>
                  <a:pt x="1727" y="852"/>
                </a:lnTo>
                <a:lnTo>
                  <a:pt x="1712" y="860"/>
                </a:lnTo>
                <a:lnTo>
                  <a:pt x="1700" y="871"/>
                </a:lnTo>
                <a:lnTo>
                  <a:pt x="1720" y="885"/>
                </a:lnTo>
                <a:lnTo>
                  <a:pt x="1735" y="904"/>
                </a:lnTo>
                <a:lnTo>
                  <a:pt x="1762" y="935"/>
                </a:lnTo>
                <a:lnTo>
                  <a:pt x="1775" y="954"/>
                </a:lnTo>
                <a:lnTo>
                  <a:pt x="1791" y="964"/>
                </a:lnTo>
                <a:lnTo>
                  <a:pt x="1810" y="975"/>
                </a:lnTo>
                <a:lnTo>
                  <a:pt x="1833" y="979"/>
                </a:lnTo>
                <a:lnTo>
                  <a:pt x="1852" y="975"/>
                </a:lnTo>
                <a:lnTo>
                  <a:pt x="1871" y="967"/>
                </a:lnTo>
                <a:lnTo>
                  <a:pt x="1887" y="962"/>
                </a:lnTo>
                <a:lnTo>
                  <a:pt x="1904" y="962"/>
                </a:lnTo>
                <a:lnTo>
                  <a:pt x="1915" y="962"/>
                </a:lnTo>
                <a:lnTo>
                  <a:pt x="1927" y="967"/>
                </a:lnTo>
                <a:lnTo>
                  <a:pt x="1950" y="983"/>
                </a:lnTo>
                <a:lnTo>
                  <a:pt x="1973" y="996"/>
                </a:lnTo>
                <a:lnTo>
                  <a:pt x="1985" y="1004"/>
                </a:lnTo>
                <a:lnTo>
                  <a:pt x="1996" y="1008"/>
                </a:lnTo>
                <a:lnTo>
                  <a:pt x="1996" y="1025"/>
                </a:lnTo>
                <a:lnTo>
                  <a:pt x="1996" y="1036"/>
                </a:lnTo>
                <a:lnTo>
                  <a:pt x="2000" y="1040"/>
                </a:lnTo>
                <a:lnTo>
                  <a:pt x="2002" y="1044"/>
                </a:lnTo>
                <a:lnTo>
                  <a:pt x="2010" y="1048"/>
                </a:lnTo>
                <a:lnTo>
                  <a:pt x="2029" y="1050"/>
                </a:lnTo>
                <a:lnTo>
                  <a:pt x="2048" y="1054"/>
                </a:lnTo>
                <a:lnTo>
                  <a:pt x="2056" y="1058"/>
                </a:lnTo>
                <a:lnTo>
                  <a:pt x="2056" y="1061"/>
                </a:lnTo>
                <a:lnTo>
                  <a:pt x="2059" y="1077"/>
                </a:lnTo>
                <a:lnTo>
                  <a:pt x="2067" y="1083"/>
                </a:lnTo>
                <a:lnTo>
                  <a:pt x="2075" y="1090"/>
                </a:lnTo>
                <a:lnTo>
                  <a:pt x="2094" y="1102"/>
                </a:lnTo>
                <a:lnTo>
                  <a:pt x="2113" y="1115"/>
                </a:lnTo>
                <a:lnTo>
                  <a:pt x="2117" y="1123"/>
                </a:lnTo>
                <a:lnTo>
                  <a:pt x="2119" y="1134"/>
                </a:lnTo>
                <a:lnTo>
                  <a:pt x="2117" y="1136"/>
                </a:lnTo>
                <a:lnTo>
                  <a:pt x="2113" y="1140"/>
                </a:lnTo>
                <a:lnTo>
                  <a:pt x="2105" y="1144"/>
                </a:lnTo>
                <a:lnTo>
                  <a:pt x="2102" y="1152"/>
                </a:lnTo>
                <a:lnTo>
                  <a:pt x="2105" y="1161"/>
                </a:lnTo>
                <a:lnTo>
                  <a:pt x="2109" y="1165"/>
                </a:lnTo>
                <a:lnTo>
                  <a:pt x="2123" y="1177"/>
                </a:lnTo>
                <a:lnTo>
                  <a:pt x="2138" y="1184"/>
                </a:lnTo>
                <a:lnTo>
                  <a:pt x="2142" y="1190"/>
                </a:lnTo>
                <a:lnTo>
                  <a:pt x="2142" y="1198"/>
                </a:lnTo>
                <a:lnTo>
                  <a:pt x="2142" y="1205"/>
                </a:lnTo>
                <a:lnTo>
                  <a:pt x="2138" y="1209"/>
                </a:lnTo>
                <a:lnTo>
                  <a:pt x="2134" y="1213"/>
                </a:lnTo>
                <a:lnTo>
                  <a:pt x="2134" y="1219"/>
                </a:lnTo>
                <a:lnTo>
                  <a:pt x="2134" y="1223"/>
                </a:lnTo>
                <a:lnTo>
                  <a:pt x="2138" y="1230"/>
                </a:lnTo>
                <a:lnTo>
                  <a:pt x="2150" y="1234"/>
                </a:lnTo>
                <a:lnTo>
                  <a:pt x="2161" y="1242"/>
                </a:lnTo>
                <a:lnTo>
                  <a:pt x="2165" y="1248"/>
                </a:lnTo>
                <a:lnTo>
                  <a:pt x="2165" y="1251"/>
                </a:lnTo>
                <a:lnTo>
                  <a:pt x="2165" y="1267"/>
                </a:lnTo>
                <a:lnTo>
                  <a:pt x="2165" y="1271"/>
                </a:lnTo>
                <a:lnTo>
                  <a:pt x="2165" y="1274"/>
                </a:lnTo>
                <a:lnTo>
                  <a:pt x="2153" y="1274"/>
                </a:lnTo>
                <a:lnTo>
                  <a:pt x="2146" y="1267"/>
                </a:lnTo>
                <a:lnTo>
                  <a:pt x="2138" y="1263"/>
                </a:lnTo>
                <a:lnTo>
                  <a:pt x="2130" y="1259"/>
                </a:lnTo>
                <a:lnTo>
                  <a:pt x="2105" y="1255"/>
                </a:lnTo>
                <a:lnTo>
                  <a:pt x="2079" y="1255"/>
                </a:lnTo>
                <a:lnTo>
                  <a:pt x="2052" y="1255"/>
                </a:lnTo>
                <a:lnTo>
                  <a:pt x="2021" y="1255"/>
                </a:lnTo>
                <a:lnTo>
                  <a:pt x="2013" y="1251"/>
                </a:lnTo>
                <a:lnTo>
                  <a:pt x="2006" y="1248"/>
                </a:lnTo>
                <a:lnTo>
                  <a:pt x="2000" y="1246"/>
                </a:lnTo>
                <a:lnTo>
                  <a:pt x="1992" y="1242"/>
                </a:lnTo>
                <a:lnTo>
                  <a:pt x="1985" y="1246"/>
                </a:lnTo>
                <a:lnTo>
                  <a:pt x="1977" y="1248"/>
                </a:lnTo>
                <a:lnTo>
                  <a:pt x="1969" y="1251"/>
                </a:lnTo>
                <a:lnTo>
                  <a:pt x="1962" y="1251"/>
                </a:lnTo>
                <a:lnTo>
                  <a:pt x="1946" y="1251"/>
                </a:lnTo>
                <a:lnTo>
                  <a:pt x="1935" y="1248"/>
                </a:lnTo>
                <a:lnTo>
                  <a:pt x="1919" y="1246"/>
                </a:lnTo>
                <a:lnTo>
                  <a:pt x="1904" y="1242"/>
                </a:lnTo>
                <a:lnTo>
                  <a:pt x="1875" y="1246"/>
                </a:lnTo>
                <a:lnTo>
                  <a:pt x="1864" y="1246"/>
                </a:lnTo>
                <a:lnTo>
                  <a:pt x="1848" y="1242"/>
                </a:lnTo>
                <a:lnTo>
                  <a:pt x="1848" y="1255"/>
                </a:lnTo>
                <a:lnTo>
                  <a:pt x="1848" y="1267"/>
                </a:lnTo>
                <a:lnTo>
                  <a:pt x="1852" y="1276"/>
                </a:lnTo>
                <a:lnTo>
                  <a:pt x="1860" y="1284"/>
                </a:lnTo>
                <a:lnTo>
                  <a:pt x="1867" y="1292"/>
                </a:lnTo>
                <a:lnTo>
                  <a:pt x="1883" y="1296"/>
                </a:lnTo>
                <a:lnTo>
                  <a:pt x="1988" y="1324"/>
                </a:lnTo>
                <a:lnTo>
                  <a:pt x="2036" y="1342"/>
                </a:lnTo>
                <a:lnTo>
                  <a:pt x="2086" y="1357"/>
                </a:lnTo>
                <a:lnTo>
                  <a:pt x="2113" y="1363"/>
                </a:lnTo>
                <a:lnTo>
                  <a:pt x="2138" y="1367"/>
                </a:lnTo>
                <a:lnTo>
                  <a:pt x="2146" y="1370"/>
                </a:lnTo>
                <a:lnTo>
                  <a:pt x="2153" y="1374"/>
                </a:lnTo>
                <a:lnTo>
                  <a:pt x="2161" y="1386"/>
                </a:lnTo>
                <a:lnTo>
                  <a:pt x="2161" y="1395"/>
                </a:lnTo>
                <a:lnTo>
                  <a:pt x="2161" y="1407"/>
                </a:lnTo>
                <a:lnTo>
                  <a:pt x="2157" y="1418"/>
                </a:lnTo>
                <a:lnTo>
                  <a:pt x="2146" y="1420"/>
                </a:lnTo>
                <a:lnTo>
                  <a:pt x="2138" y="1424"/>
                </a:lnTo>
                <a:lnTo>
                  <a:pt x="2113" y="1428"/>
                </a:lnTo>
                <a:lnTo>
                  <a:pt x="2086" y="1432"/>
                </a:lnTo>
                <a:lnTo>
                  <a:pt x="2006" y="1447"/>
                </a:lnTo>
                <a:lnTo>
                  <a:pt x="1969" y="1453"/>
                </a:lnTo>
                <a:lnTo>
                  <a:pt x="1931" y="1453"/>
                </a:lnTo>
                <a:lnTo>
                  <a:pt x="1900" y="1453"/>
                </a:lnTo>
                <a:lnTo>
                  <a:pt x="1875" y="1447"/>
                </a:lnTo>
                <a:lnTo>
                  <a:pt x="1852" y="1436"/>
                </a:lnTo>
                <a:lnTo>
                  <a:pt x="1829" y="1420"/>
                </a:lnTo>
                <a:lnTo>
                  <a:pt x="1821" y="1418"/>
                </a:lnTo>
                <a:lnTo>
                  <a:pt x="1814" y="1418"/>
                </a:lnTo>
                <a:lnTo>
                  <a:pt x="1795" y="1428"/>
                </a:lnTo>
                <a:lnTo>
                  <a:pt x="1775" y="1443"/>
                </a:lnTo>
                <a:lnTo>
                  <a:pt x="1770" y="1447"/>
                </a:lnTo>
                <a:lnTo>
                  <a:pt x="1758" y="1449"/>
                </a:lnTo>
                <a:lnTo>
                  <a:pt x="1716" y="1447"/>
                </a:lnTo>
                <a:lnTo>
                  <a:pt x="1674" y="1440"/>
                </a:lnTo>
                <a:lnTo>
                  <a:pt x="1674" y="1443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32" name="Freeform 478"/>
          <p:cNvSpPr>
            <a:spLocks/>
          </p:cNvSpPr>
          <p:nvPr/>
        </p:nvSpPr>
        <p:spPr bwMode="gray">
          <a:xfrm>
            <a:off x="6201070" y="3978000"/>
            <a:ext cx="40105" cy="55248"/>
          </a:xfrm>
          <a:custGeom>
            <a:avLst/>
            <a:gdLst>
              <a:gd name="T0" fmla="*/ 3 w 104"/>
              <a:gd name="T1" fmla="*/ 18 h 144"/>
              <a:gd name="T2" fmla="*/ 1 w 104"/>
              <a:gd name="T3" fmla="*/ 21 h 144"/>
              <a:gd name="T4" fmla="*/ 0 w 104"/>
              <a:gd name="T5" fmla="*/ 22 h 144"/>
              <a:gd name="T6" fmla="*/ 0 w 104"/>
              <a:gd name="T7" fmla="*/ 24 h 144"/>
              <a:gd name="T8" fmla="*/ 0 w 104"/>
              <a:gd name="T9" fmla="*/ 27 h 144"/>
              <a:gd name="T10" fmla="*/ 1 w 104"/>
              <a:gd name="T11" fmla="*/ 30 h 144"/>
              <a:gd name="T12" fmla="*/ 4 w 104"/>
              <a:gd name="T13" fmla="*/ 32 h 144"/>
              <a:gd name="T14" fmla="*/ 7 w 104"/>
              <a:gd name="T15" fmla="*/ 33 h 144"/>
              <a:gd name="T16" fmla="*/ 10 w 104"/>
              <a:gd name="T17" fmla="*/ 25 h 144"/>
              <a:gd name="T18" fmla="*/ 12 w 104"/>
              <a:gd name="T19" fmla="*/ 20 h 144"/>
              <a:gd name="T20" fmla="*/ 13 w 104"/>
              <a:gd name="T21" fmla="*/ 18 h 144"/>
              <a:gd name="T22" fmla="*/ 13 w 104"/>
              <a:gd name="T23" fmla="*/ 27 h 144"/>
              <a:gd name="T24" fmla="*/ 15 w 104"/>
              <a:gd name="T25" fmla="*/ 26 h 144"/>
              <a:gd name="T26" fmla="*/ 17 w 104"/>
              <a:gd name="T27" fmla="*/ 25 h 144"/>
              <a:gd name="T28" fmla="*/ 17 w 104"/>
              <a:gd name="T29" fmla="*/ 21 h 144"/>
              <a:gd name="T30" fmla="*/ 20 w 104"/>
              <a:gd name="T31" fmla="*/ 25 h 144"/>
              <a:gd name="T32" fmla="*/ 21 w 104"/>
              <a:gd name="T33" fmla="*/ 28 h 144"/>
              <a:gd name="T34" fmla="*/ 23 w 104"/>
              <a:gd name="T35" fmla="*/ 35 h 144"/>
              <a:gd name="T36" fmla="*/ 24 w 104"/>
              <a:gd name="T37" fmla="*/ 29 h 144"/>
              <a:gd name="T38" fmla="*/ 24 w 104"/>
              <a:gd name="T39" fmla="*/ 23 h 144"/>
              <a:gd name="T40" fmla="*/ 26 w 104"/>
              <a:gd name="T41" fmla="*/ 12 h 144"/>
              <a:gd name="T42" fmla="*/ 26 w 104"/>
              <a:gd name="T43" fmla="*/ 6 h 144"/>
              <a:gd name="T44" fmla="*/ 24 w 104"/>
              <a:gd name="T45" fmla="*/ 5 h 144"/>
              <a:gd name="T46" fmla="*/ 23 w 104"/>
              <a:gd name="T47" fmla="*/ 8 h 144"/>
              <a:gd name="T48" fmla="*/ 24 w 104"/>
              <a:gd name="T49" fmla="*/ 11 h 144"/>
              <a:gd name="T50" fmla="*/ 20 w 104"/>
              <a:gd name="T51" fmla="*/ 9 h 144"/>
              <a:gd name="T52" fmla="*/ 15 w 104"/>
              <a:gd name="T53" fmla="*/ 6 h 144"/>
              <a:gd name="T54" fmla="*/ 13 w 104"/>
              <a:gd name="T55" fmla="*/ 3 h 144"/>
              <a:gd name="T56" fmla="*/ 11 w 104"/>
              <a:gd name="T57" fmla="*/ 0 h 144"/>
              <a:gd name="T58" fmla="*/ 9 w 104"/>
              <a:gd name="T59" fmla="*/ 1 h 144"/>
              <a:gd name="T60" fmla="*/ 7 w 104"/>
              <a:gd name="T61" fmla="*/ 3 h 144"/>
              <a:gd name="T62" fmla="*/ 7 w 104"/>
              <a:gd name="T63" fmla="*/ 4 h 144"/>
              <a:gd name="T64" fmla="*/ 7 w 104"/>
              <a:gd name="T65" fmla="*/ 5 h 144"/>
              <a:gd name="T66" fmla="*/ 9 w 104"/>
              <a:gd name="T67" fmla="*/ 9 h 144"/>
              <a:gd name="T68" fmla="*/ 10 w 104"/>
              <a:gd name="T69" fmla="*/ 11 h 144"/>
              <a:gd name="T70" fmla="*/ 7 w 104"/>
              <a:gd name="T71" fmla="*/ 17 h 144"/>
              <a:gd name="T72" fmla="*/ 5 w 104"/>
              <a:gd name="T73" fmla="*/ 13 h 144"/>
              <a:gd name="T74" fmla="*/ 5 w 104"/>
              <a:gd name="T75" fmla="*/ 10 h 144"/>
              <a:gd name="T76" fmla="*/ 6 w 104"/>
              <a:gd name="T77" fmla="*/ 6 h 144"/>
              <a:gd name="T78" fmla="*/ 5 w 104"/>
              <a:gd name="T79" fmla="*/ 3 h 144"/>
              <a:gd name="T80" fmla="*/ 3 w 104"/>
              <a:gd name="T81" fmla="*/ 14 h 144"/>
              <a:gd name="T82" fmla="*/ 1 w 104"/>
              <a:gd name="T83" fmla="*/ 18 h 144"/>
              <a:gd name="T84" fmla="*/ 0 w 104"/>
              <a:gd name="T85" fmla="*/ 23 h 144"/>
              <a:gd name="T86" fmla="*/ 3 w 104"/>
              <a:gd name="T87" fmla="*/ 18 h 14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04"/>
              <a:gd name="T133" fmla="*/ 0 h 144"/>
              <a:gd name="T134" fmla="*/ 104 w 104"/>
              <a:gd name="T135" fmla="*/ 144 h 144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04" h="144">
                <a:moveTo>
                  <a:pt x="12" y="75"/>
                </a:moveTo>
                <a:lnTo>
                  <a:pt x="4" y="86"/>
                </a:lnTo>
                <a:lnTo>
                  <a:pt x="0" y="90"/>
                </a:lnTo>
                <a:lnTo>
                  <a:pt x="0" y="98"/>
                </a:lnTo>
                <a:lnTo>
                  <a:pt x="0" y="111"/>
                </a:lnTo>
                <a:lnTo>
                  <a:pt x="4" y="123"/>
                </a:lnTo>
                <a:lnTo>
                  <a:pt x="16" y="132"/>
                </a:lnTo>
                <a:lnTo>
                  <a:pt x="27" y="136"/>
                </a:lnTo>
                <a:lnTo>
                  <a:pt x="39" y="102"/>
                </a:lnTo>
                <a:lnTo>
                  <a:pt x="47" y="83"/>
                </a:lnTo>
                <a:lnTo>
                  <a:pt x="54" y="73"/>
                </a:lnTo>
                <a:lnTo>
                  <a:pt x="54" y="111"/>
                </a:lnTo>
                <a:lnTo>
                  <a:pt x="62" y="107"/>
                </a:lnTo>
                <a:lnTo>
                  <a:pt x="66" y="102"/>
                </a:lnTo>
                <a:lnTo>
                  <a:pt x="66" y="86"/>
                </a:lnTo>
                <a:lnTo>
                  <a:pt x="77" y="102"/>
                </a:lnTo>
                <a:lnTo>
                  <a:pt x="81" y="115"/>
                </a:lnTo>
                <a:lnTo>
                  <a:pt x="89" y="144"/>
                </a:lnTo>
                <a:lnTo>
                  <a:pt x="93" y="119"/>
                </a:lnTo>
                <a:lnTo>
                  <a:pt x="96" y="94"/>
                </a:lnTo>
                <a:lnTo>
                  <a:pt x="104" y="50"/>
                </a:lnTo>
                <a:lnTo>
                  <a:pt x="104" y="25"/>
                </a:lnTo>
                <a:lnTo>
                  <a:pt x="93" y="21"/>
                </a:lnTo>
                <a:lnTo>
                  <a:pt x="89" y="33"/>
                </a:lnTo>
                <a:lnTo>
                  <a:pt x="93" y="44"/>
                </a:lnTo>
                <a:lnTo>
                  <a:pt x="77" y="36"/>
                </a:lnTo>
                <a:lnTo>
                  <a:pt x="62" y="25"/>
                </a:lnTo>
                <a:lnTo>
                  <a:pt x="50" y="12"/>
                </a:lnTo>
                <a:lnTo>
                  <a:pt x="43" y="0"/>
                </a:lnTo>
                <a:lnTo>
                  <a:pt x="35" y="4"/>
                </a:lnTo>
                <a:lnTo>
                  <a:pt x="31" y="12"/>
                </a:lnTo>
                <a:lnTo>
                  <a:pt x="27" y="17"/>
                </a:lnTo>
                <a:lnTo>
                  <a:pt x="31" y="21"/>
                </a:lnTo>
                <a:lnTo>
                  <a:pt x="35" y="36"/>
                </a:lnTo>
                <a:lnTo>
                  <a:pt x="39" y="46"/>
                </a:lnTo>
                <a:lnTo>
                  <a:pt x="27" y="69"/>
                </a:lnTo>
                <a:lnTo>
                  <a:pt x="20" y="54"/>
                </a:lnTo>
                <a:lnTo>
                  <a:pt x="20" y="40"/>
                </a:lnTo>
                <a:lnTo>
                  <a:pt x="24" y="25"/>
                </a:lnTo>
                <a:lnTo>
                  <a:pt x="20" y="15"/>
                </a:lnTo>
                <a:lnTo>
                  <a:pt x="12" y="58"/>
                </a:lnTo>
                <a:lnTo>
                  <a:pt x="4" y="75"/>
                </a:lnTo>
                <a:lnTo>
                  <a:pt x="0" y="94"/>
                </a:lnTo>
                <a:lnTo>
                  <a:pt x="12" y="75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33" name="Freeform 479"/>
          <p:cNvSpPr>
            <a:spLocks/>
          </p:cNvSpPr>
          <p:nvPr/>
        </p:nvSpPr>
        <p:spPr bwMode="gray">
          <a:xfrm>
            <a:off x="5835500" y="3451978"/>
            <a:ext cx="195896" cy="175082"/>
          </a:xfrm>
          <a:custGeom>
            <a:avLst/>
            <a:gdLst>
              <a:gd name="T0" fmla="*/ 8 w 509"/>
              <a:gd name="T1" fmla="*/ 80 h 451"/>
              <a:gd name="T2" fmla="*/ 12 w 509"/>
              <a:gd name="T3" fmla="*/ 77 h 451"/>
              <a:gd name="T4" fmla="*/ 12 w 509"/>
              <a:gd name="T5" fmla="*/ 73 h 451"/>
              <a:gd name="T6" fmla="*/ 8 w 509"/>
              <a:gd name="T7" fmla="*/ 70 h 451"/>
              <a:gd name="T8" fmla="*/ 5 w 509"/>
              <a:gd name="T9" fmla="*/ 60 h 451"/>
              <a:gd name="T10" fmla="*/ 4 w 509"/>
              <a:gd name="T11" fmla="*/ 43 h 451"/>
              <a:gd name="T12" fmla="*/ 3 w 509"/>
              <a:gd name="T13" fmla="*/ 35 h 451"/>
              <a:gd name="T14" fmla="*/ 2 w 509"/>
              <a:gd name="T15" fmla="*/ 25 h 451"/>
              <a:gd name="T16" fmla="*/ 4 w 509"/>
              <a:gd name="T17" fmla="*/ 12 h 451"/>
              <a:gd name="T18" fmla="*/ 4 w 509"/>
              <a:gd name="T19" fmla="*/ 2 h 451"/>
              <a:gd name="T20" fmla="*/ 7 w 509"/>
              <a:gd name="T21" fmla="*/ 1 h 451"/>
              <a:gd name="T22" fmla="*/ 10 w 509"/>
              <a:gd name="T23" fmla="*/ 4 h 451"/>
              <a:gd name="T24" fmla="*/ 14 w 509"/>
              <a:gd name="T25" fmla="*/ 1 h 451"/>
              <a:gd name="T26" fmla="*/ 16 w 509"/>
              <a:gd name="T27" fmla="*/ 5 h 451"/>
              <a:gd name="T28" fmla="*/ 18 w 509"/>
              <a:gd name="T29" fmla="*/ 9 h 451"/>
              <a:gd name="T30" fmla="*/ 17 w 509"/>
              <a:gd name="T31" fmla="*/ 11 h 451"/>
              <a:gd name="T32" fmla="*/ 19 w 509"/>
              <a:gd name="T33" fmla="*/ 16 h 451"/>
              <a:gd name="T34" fmla="*/ 25 w 509"/>
              <a:gd name="T35" fmla="*/ 22 h 451"/>
              <a:gd name="T36" fmla="*/ 29 w 509"/>
              <a:gd name="T37" fmla="*/ 23 h 451"/>
              <a:gd name="T38" fmla="*/ 28 w 509"/>
              <a:gd name="T39" fmla="*/ 16 h 451"/>
              <a:gd name="T40" fmla="*/ 35 w 509"/>
              <a:gd name="T41" fmla="*/ 17 h 451"/>
              <a:gd name="T42" fmla="*/ 65 w 509"/>
              <a:gd name="T43" fmla="*/ 27 h 451"/>
              <a:gd name="T44" fmla="*/ 84 w 509"/>
              <a:gd name="T45" fmla="*/ 36 h 451"/>
              <a:gd name="T46" fmla="*/ 89 w 509"/>
              <a:gd name="T47" fmla="*/ 41 h 451"/>
              <a:gd name="T48" fmla="*/ 92 w 509"/>
              <a:gd name="T49" fmla="*/ 47 h 451"/>
              <a:gd name="T50" fmla="*/ 95 w 509"/>
              <a:gd name="T51" fmla="*/ 54 h 451"/>
              <a:gd name="T52" fmla="*/ 96 w 509"/>
              <a:gd name="T53" fmla="*/ 57 h 451"/>
              <a:gd name="T54" fmla="*/ 103 w 509"/>
              <a:gd name="T55" fmla="*/ 55 h 451"/>
              <a:gd name="T56" fmla="*/ 111 w 509"/>
              <a:gd name="T57" fmla="*/ 51 h 451"/>
              <a:gd name="T58" fmla="*/ 118 w 509"/>
              <a:gd name="T59" fmla="*/ 52 h 451"/>
              <a:gd name="T60" fmla="*/ 123 w 509"/>
              <a:gd name="T61" fmla="*/ 56 h 451"/>
              <a:gd name="T62" fmla="*/ 127 w 509"/>
              <a:gd name="T63" fmla="*/ 62 h 451"/>
              <a:gd name="T64" fmla="*/ 121 w 509"/>
              <a:gd name="T65" fmla="*/ 71 h 451"/>
              <a:gd name="T66" fmla="*/ 115 w 509"/>
              <a:gd name="T67" fmla="*/ 76 h 451"/>
              <a:gd name="T68" fmla="*/ 108 w 509"/>
              <a:gd name="T69" fmla="*/ 76 h 451"/>
              <a:gd name="T70" fmla="*/ 102 w 509"/>
              <a:gd name="T71" fmla="*/ 75 h 451"/>
              <a:gd name="T72" fmla="*/ 94 w 509"/>
              <a:gd name="T73" fmla="*/ 75 h 451"/>
              <a:gd name="T74" fmla="*/ 88 w 509"/>
              <a:gd name="T75" fmla="*/ 76 h 451"/>
              <a:gd name="T76" fmla="*/ 87 w 509"/>
              <a:gd name="T77" fmla="*/ 74 h 451"/>
              <a:gd name="T78" fmla="*/ 74 w 509"/>
              <a:gd name="T79" fmla="*/ 66 h 451"/>
              <a:gd name="T80" fmla="*/ 72 w 509"/>
              <a:gd name="T81" fmla="*/ 64 h 451"/>
              <a:gd name="T82" fmla="*/ 66 w 509"/>
              <a:gd name="T83" fmla="*/ 61 h 451"/>
              <a:gd name="T84" fmla="*/ 63 w 509"/>
              <a:gd name="T85" fmla="*/ 67 h 451"/>
              <a:gd name="T86" fmla="*/ 63 w 509"/>
              <a:gd name="T87" fmla="*/ 71 h 451"/>
              <a:gd name="T88" fmla="*/ 64 w 509"/>
              <a:gd name="T89" fmla="*/ 75 h 451"/>
              <a:gd name="T90" fmla="*/ 64 w 509"/>
              <a:gd name="T91" fmla="*/ 79 h 451"/>
              <a:gd name="T92" fmla="*/ 57 w 509"/>
              <a:gd name="T93" fmla="*/ 84 h 451"/>
              <a:gd name="T94" fmla="*/ 53 w 509"/>
              <a:gd name="T95" fmla="*/ 92 h 451"/>
              <a:gd name="T96" fmla="*/ 48 w 509"/>
              <a:gd name="T97" fmla="*/ 105 h 451"/>
              <a:gd name="T98" fmla="*/ 42 w 509"/>
              <a:gd name="T99" fmla="*/ 112 h 451"/>
              <a:gd name="T100" fmla="*/ 36 w 509"/>
              <a:gd name="T101" fmla="*/ 112 h 451"/>
              <a:gd name="T102" fmla="*/ 33 w 509"/>
              <a:gd name="T103" fmla="*/ 109 h 451"/>
              <a:gd name="T104" fmla="*/ 31 w 509"/>
              <a:gd name="T105" fmla="*/ 101 h 451"/>
              <a:gd name="T106" fmla="*/ 30 w 509"/>
              <a:gd name="T107" fmla="*/ 93 h 451"/>
              <a:gd name="T108" fmla="*/ 26 w 509"/>
              <a:gd name="T109" fmla="*/ 90 h 451"/>
              <a:gd name="T110" fmla="*/ 20 w 509"/>
              <a:gd name="T111" fmla="*/ 91 h 451"/>
              <a:gd name="T112" fmla="*/ 4 w 509"/>
              <a:gd name="T113" fmla="*/ 101 h 451"/>
              <a:gd name="T114" fmla="*/ 0 w 509"/>
              <a:gd name="T115" fmla="*/ 94 h 451"/>
              <a:gd name="T116" fmla="*/ 1 w 509"/>
              <a:gd name="T117" fmla="*/ 84 h 451"/>
              <a:gd name="T118" fmla="*/ 4 w 509"/>
              <a:gd name="T119" fmla="*/ 81 h 451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509"/>
              <a:gd name="T181" fmla="*/ 0 h 451"/>
              <a:gd name="T182" fmla="*/ 509 w 509"/>
              <a:gd name="T183" fmla="*/ 451 h 451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509" h="451">
                <a:moveTo>
                  <a:pt x="25" y="326"/>
                </a:moveTo>
                <a:lnTo>
                  <a:pt x="33" y="322"/>
                </a:lnTo>
                <a:lnTo>
                  <a:pt x="41" y="315"/>
                </a:lnTo>
                <a:lnTo>
                  <a:pt x="48" y="309"/>
                </a:lnTo>
                <a:lnTo>
                  <a:pt x="52" y="297"/>
                </a:lnTo>
                <a:lnTo>
                  <a:pt x="48" y="293"/>
                </a:lnTo>
                <a:lnTo>
                  <a:pt x="41" y="286"/>
                </a:lnTo>
                <a:lnTo>
                  <a:pt x="33" y="280"/>
                </a:lnTo>
                <a:lnTo>
                  <a:pt x="25" y="265"/>
                </a:lnTo>
                <a:lnTo>
                  <a:pt x="21" y="243"/>
                </a:lnTo>
                <a:lnTo>
                  <a:pt x="19" y="203"/>
                </a:lnTo>
                <a:lnTo>
                  <a:pt x="19" y="172"/>
                </a:lnTo>
                <a:lnTo>
                  <a:pt x="19" y="153"/>
                </a:lnTo>
                <a:lnTo>
                  <a:pt x="12" y="140"/>
                </a:lnTo>
                <a:lnTo>
                  <a:pt x="8" y="121"/>
                </a:lnTo>
                <a:lnTo>
                  <a:pt x="8" y="100"/>
                </a:lnTo>
                <a:lnTo>
                  <a:pt x="12" y="75"/>
                </a:lnTo>
                <a:lnTo>
                  <a:pt x="16" y="50"/>
                </a:lnTo>
                <a:lnTo>
                  <a:pt x="12" y="25"/>
                </a:lnTo>
                <a:lnTo>
                  <a:pt x="16" y="11"/>
                </a:lnTo>
                <a:lnTo>
                  <a:pt x="25" y="0"/>
                </a:lnTo>
                <a:lnTo>
                  <a:pt x="29" y="7"/>
                </a:lnTo>
                <a:lnTo>
                  <a:pt x="33" y="17"/>
                </a:lnTo>
                <a:lnTo>
                  <a:pt x="41" y="17"/>
                </a:lnTo>
                <a:lnTo>
                  <a:pt x="48" y="13"/>
                </a:lnTo>
                <a:lnTo>
                  <a:pt x="56" y="7"/>
                </a:lnTo>
                <a:lnTo>
                  <a:pt x="64" y="13"/>
                </a:lnTo>
                <a:lnTo>
                  <a:pt x="67" y="21"/>
                </a:lnTo>
                <a:lnTo>
                  <a:pt x="75" y="29"/>
                </a:lnTo>
                <a:lnTo>
                  <a:pt x="75" y="36"/>
                </a:lnTo>
                <a:lnTo>
                  <a:pt x="75" y="42"/>
                </a:lnTo>
                <a:lnTo>
                  <a:pt x="71" y="46"/>
                </a:lnTo>
                <a:lnTo>
                  <a:pt x="67" y="53"/>
                </a:lnTo>
                <a:lnTo>
                  <a:pt x="79" y="65"/>
                </a:lnTo>
                <a:lnTo>
                  <a:pt x="90" y="78"/>
                </a:lnTo>
                <a:lnTo>
                  <a:pt x="102" y="90"/>
                </a:lnTo>
                <a:lnTo>
                  <a:pt x="110" y="94"/>
                </a:lnTo>
                <a:lnTo>
                  <a:pt x="117" y="94"/>
                </a:lnTo>
                <a:lnTo>
                  <a:pt x="114" y="71"/>
                </a:lnTo>
                <a:lnTo>
                  <a:pt x="114" y="65"/>
                </a:lnTo>
                <a:lnTo>
                  <a:pt x="117" y="53"/>
                </a:lnTo>
                <a:lnTo>
                  <a:pt x="142" y="71"/>
                </a:lnTo>
                <a:lnTo>
                  <a:pt x="181" y="82"/>
                </a:lnTo>
                <a:lnTo>
                  <a:pt x="263" y="111"/>
                </a:lnTo>
                <a:lnTo>
                  <a:pt x="302" y="124"/>
                </a:lnTo>
                <a:lnTo>
                  <a:pt x="336" y="144"/>
                </a:lnTo>
                <a:lnTo>
                  <a:pt x="352" y="149"/>
                </a:lnTo>
                <a:lnTo>
                  <a:pt x="359" y="165"/>
                </a:lnTo>
                <a:lnTo>
                  <a:pt x="367" y="176"/>
                </a:lnTo>
                <a:lnTo>
                  <a:pt x="369" y="190"/>
                </a:lnTo>
                <a:lnTo>
                  <a:pt x="392" y="207"/>
                </a:lnTo>
                <a:lnTo>
                  <a:pt x="380" y="219"/>
                </a:lnTo>
                <a:lnTo>
                  <a:pt x="373" y="230"/>
                </a:lnTo>
                <a:lnTo>
                  <a:pt x="384" y="230"/>
                </a:lnTo>
                <a:lnTo>
                  <a:pt x="396" y="230"/>
                </a:lnTo>
                <a:lnTo>
                  <a:pt x="415" y="222"/>
                </a:lnTo>
                <a:lnTo>
                  <a:pt x="438" y="211"/>
                </a:lnTo>
                <a:lnTo>
                  <a:pt x="446" y="207"/>
                </a:lnTo>
                <a:lnTo>
                  <a:pt x="457" y="207"/>
                </a:lnTo>
                <a:lnTo>
                  <a:pt x="472" y="211"/>
                </a:lnTo>
                <a:lnTo>
                  <a:pt x="484" y="219"/>
                </a:lnTo>
                <a:lnTo>
                  <a:pt x="494" y="226"/>
                </a:lnTo>
                <a:lnTo>
                  <a:pt x="509" y="232"/>
                </a:lnTo>
                <a:lnTo>
                  <a:pt x="509" y="251"/>
                </a:lnTo>
                <a:lnTo>
                  <a:pt x="494" y="268"/>
                </a:lnTo>
                <a:lnTo>
                  <a:pt x="484" y="286"/>
                </a:lnTo>
                <a:lnTo>
                  <a:pt x="469" y="301"/>
                </a:lnTo>
                <a:lnTo>
                  <a:pt x="461" y="305"/>
                </a:lnTo>
                <a:lnTo>
                  <a:pt x="449" y="309"/>
                </a:lnTo>
                <a:lnTo>
                  <a:pt x="434" y="305"/>
                </a:lnTo>
                <a:lnTo>
                  <a:pt x="423" y="301"/>
                </a:lnTo>
                <a:lnTo>
                  <a:pt x="411" y="301"/>
                </a:lnTo>
                <a:lnTo>
                  <a:pt x="396" y="297"/>
                </a:lnTo>
                <a:lnTo>
                  <a:pt x="376" y="301"/>
                </a:lnTo>
                <a:lnTo>
                  <a:pt x="363" y="305"/>
                </a:lnTo>
                <a:lnTo>
                  <a:pt x="352" y="305"/>
                </a:lnTo>
                <a:lnTo>
                  <a:pt x="348" y="301"/>
                </a:lnTo>
                <a:lnTo>
                  <a:pt x="348" y="297"/>
                </a:lnTo>
                <a:lnTo>
                  <a:pt x="348" y="265"/>
                </a:lnTo>
                <a:lnTo>
                  <a:pt x="298" y="265"/>
                </a:lnTo>
                <a:lnTo>
                  <a:pt x="294" y="261"/>
                </a:lnTo>
                <a:lnTo>
                  <a:pt x="290" y="257"/>
                </a:lnTo>
                <a:lnTo>
                  <a:pt x="282" y="243"/>
                </a:lnTo>
                <a:lnTo>
                  <a:pt x="267" y="247"/>
                </a:lnTo>
                <a:lnTo>
                  <a:pt x="256" y="255"/>
                </a:lnTo>
                <a:lnTo>
                  <a:pt x="252" y="268"/>
                </a:lnTo>
                <a:lnTo>
                  <a:pt x="250" y="280"/>
                </a:lnTo>
                <a:lnTo>
                  <a:pt x="252" y="286"/>
                </a:lnTo>
                <a:lnTo>
                  <a:pt x="252" y="293"/>
                </a:lnTo>
                <a:lnTo>
                  <a:pt x="256" y="301"/>
                </a:lnTo>
                <a:lnTo>
                  <a:pt x="259" y="309"/>
                </a:lnTo>
                <a:lnTo>
                  <a:pt x="256" y="318"/>
                </a:lnTo>
                <a:lnTo>
                  <a:pt x="246" y="326"/>
                </a:lnTo>
                <a:lnTo>
                  <a:pt x="231" y="339"/>
                </a:lnTo>
                <a:lnTo>
                  <a:pt x="223" y="351"/>
                </a:lnTo>
                <a:lnTo>
                  <a:pt x="215" y="368"/>
                </a:lnTo>
                <a:lnTo>
                  <a:pt x="204" y="405"/>
                </a:lnTo>
                <a:lnTo>
                  <a:pt x="192" y="422"/>
                </a:lnTo>
                <a:lnTo>
                  <a:pt x="181" y="441"/>
                </a:lnTo>
                <a:lnTo>
                  <a:pt x="169" y="449"/>
                </a:lnTo>
                <a:lnTo>
                  <a:pt x="154" y="451"/>
                </a:lnTo>
                <a:lnTo>
                  <a:pt x="146" y="451"/>
                </a:lnTo>
                <a:lnTo>
                  <a:pt x="138" y="449"/>
                </a:lnTo>
                <a:lnTo>
                  <a:pt x="133" y="437"/>
                </a:lnTo>
                <a:lnTo>
                  <a:pt x="129" y="422"/>
                </a:lnTo>
                <a:lnTo>
                  <a:pt x="125" y="405"/>
                </a:lnTo>
                <a:lnTo>
                  <a:pt x="125" y="391"/>
                </a:lnTo>
                <a:lnTo>
                  <a:pt x="121" y="372"/>
                </a:lnTo>
                <a:lnTo>
                  <a:pt x="114" y="362"/>
                </a:lnTo>
                <a:lnTo>
                  <a:pt x="106" y="362"/>
                </a:lnTo>
                <a:lnTo>
                  <a:pt x="98" y="359"/>
                </a:lnTo>
                <a:lnTo>
                  <a:pt x="83" y="366"/>
                </a:lnTo>
                <a:lnTo>
                  <a:pt x="60" y="380"/>
                </a:lnTo>
                <a:lnTo>
                  <a:pt x="19" y="405"/>
                </a:lnTo>
                <a:lnTo>
                  <a:pt x="0" y="405"/>
                </a:lnTo>
                <a:lnTo>
                  <a:pt x="0" y="376"/>
                </a:lnTo>
                <a:lnTo>
                  <a:pt x="0" y="359"/>
                </a:lnTo>
                <a:lnTo>
                  <a:pt x="4" y="339"/>
                </a:lnTo>
                <a:lnTo>
                  <a:pt x="16" y="330"/>
                </a:lnTo>
                <a:lnTo>
                  <a:pt x="19" y="326"/>
                </a:lnTo>
                <a:lnTo>
                  <a:pt x="25" y="326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34" name="Freeform 480"/>
          <p:cNvSpPr>
            <a:spLocks/>
          </p:cNvSpPr>
          <p:nvPr/>
        </p:nvSpPr>
        <p:spPr bwMode="gray">
          <a:xfrm>
            <a:off x="5948102" y="3609162"/>
            <a:ext cx="55530" cy="68476"/>
          </a:xfrm>
          <a:custGeom>
            <a:avLst/>
            <a:gdLst>
              <a:gd name="T0" fmla="*/ 24 w 144"/>
              <a:gd name="T1" fmla="*/ 3 h 174"/>
              <a:gd name="T2" fmla="*/ 25 w 144"/>
              <a:gd name="T3" fmla="*/ 2 h 174"/>
              <a:gd name="T4" fmla="*/ 26 w 144"/>
              <a:gd name="T5" fmla="*/ 1 h 174"/>
              <a:gd name="T6" fmla="*/ 29 w 144"/>
              <a:gd name="T7" fmla="*/ 0 h 174"/>
              <a:gd name="T8" fmla="*/ 33 w 144"/>
              <a:gd name="T9" fmla="*/ 1 h 174"/>
              <a:gd name="T10" fmla="*/ 34 w 144"/>
              <a:gd name="T11" fmla="*/ 3 h 174"/>
              <a:gd name="T12" fmla="*/ 36 w 144"/>
              <a:gd name="T13" fmla="*/ 5 h 174"/>
              <a:gd name="T14" fmla="*/ 36 w 144"/>
              <a:gd name="T15" fmla="*/ 8 h 174"/>
              <a:gd name="T16" fmla="*/ 35 w 144"/>
              <a:gd name="T17" fmla="*/ 13 h 174"/>
              <a:gd name="T18" fmla="*/ 33 w 144"/>
              <a:gd name="T19" fmla="*/ 19 h 174"/>
              <a:gd name="T20" fmla="*/ 30 w 144"/>
              <a:gd name="T21" fmla="*/ 25 h 174"/>
              <a:gd name="T22" fmla="*/ 26 w 144"/>
              <a:gd name="T23" fmla="*/ 30 h 174"/>
              <a:gd name="T24" fmla="*/ 21 w 144"/>
              <a:gd name="T25" fmla="*/ 35 h 174"/>
              <a:gd name="T26" fmla="*/ 17 w 144"/>
              <a:gd name="T27" fmla="*/ 40 h 174"/>
              <a:gd name="T28" fmla="*/ 12 w 144"/>
              <a:gd name="T29" fmla="*/ 43 h 174"/>
              <a:gd name="T30" fmla="*/ 7 w 144"/>
              <a:gd name="T31" fmla="*/ 45 h 174"/>
              <a:gd name="T32" fmla="*/ 5 w 144"/>
              <a:gd name="T33" fmla="*/ 39 h 174"/>
              <a:gd name="T34" fmla="*/ 3 w 144"/>
              <a:gd name="T35" fmla="*/ 35 h 174"/>
              <a:gd name="T36" fmla="*/ 1 w 144"/>
              <a:gd name="T37" fmla="*/ 30 h 174"/>
              <a:gd name="T38" fmla="*/ 0 w 144"/>
              <a:gd name="T39" fmla="*/ 25 h 174"/>
              <a:gd name="T40" fmla="*/ 2 w 144"/>
              <a:gd name="T41" fmla="*/ 20 h 174"/>
              <a:gd name="T42" fmla="*/ 5 w 144"/>
              <a:gd name="T43" fmla="*/ 14 h 174"/>
              <a:gd name="T44" fmla="*/ 12 w 144"/>
              <a:gd name="T45" fmla="*/ 3 h 174"/>
              <a:gd name="T46" fmla="*/ 15 w 144"/>
              <a:gd name="T47" fmla="*/ 4 h 174"/>
              <a:gd name="T48" fmla="*/ 18 w 144"/>
              <a:gd name="T49" fmla="*/ 5 h 174"/>
              <a:gd name="T50" fmla="*/ 24 w 144"/>
              <a:gd name="T51" fmla="*/ 3 h 17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44"/>
              <a:gd name="T79" fmla="*/ 0 h 174"/>
              <a:gd name="T80" fmla="*/ 144 w 144"/>
              <a:gd name="T81" fmla="*/ 174 h 174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44" h="174">
                <a:moveTo>
                  <a:pt x="98" y="11"/>
                </a:moveTo>
                <a:lnTo>
                  <a:pt x="102" y="7"/>
                </a:lnTo>
                <a:lnTo>
                  <a:pt x="106" y="4"/>
                </a:lnTo>
                <a:lnTo>
                  <a:pt x="117" y="0"/>
                </a:lnTo>
                <a:lnTo>
                  <a:pt x="129" y="4"/>
                </a:lnTo>
                <a:lnTo>
                  <a:pt x="136" y="11"/>
                </a:lnTo>
                <a:lnTo>
                  <a:pt x="144" y="19"/>
                </a:lnTo>
                <a:lnTo>
                  <a:pt x="144" y="29"/>
                </a:lnTo>
                <a:lnTo>
                  <a:pt x="140" y="52"/>
                </a:lnTo>
                <a:lnTo>
                  <a:pt x="132" y="73"/>
                </a:lnTo>
                <a:lnTo>
                  <a:pt x="121" y="98"/>
                </a:lnTo>
                <a:lnTo>
                  <a:pt x="106" y="119"/>
                </a:lnTo>
                <a:lnTo>
                  <a:pt x="86" y="138"/>
                </a:lnTo>
                <a:lnTo>
                  <a:pt x="67" y="157"/>
                </a:lnTo>
                <a:lnTo>
                  <a:pt x="48" y="171"/>
                </a:lnTo>
                <a:lnTo>
                  <a:pt x="31" y="174"/>
                </a:lnTo>
                <a:lnTo>
                  <a:pt x="23" y="153"/>
                </a:lnTo>
                <a:lnTo>
                  <a:pt x="15" y="138"/>
                </a:lnTo>
                <a:lnTo>
                  <a:pt x="4" y="119"/>
                </a:lnTo>
                <a:lnTo>
                  <a:pt x="0" y="98"/>
                </a:lnTo>
                <a:lnTo>
                  <a:pt x="8" y="80"/>
                </a:lnTo>
                <a:lnTo>
                  <a:pt x="23" y="53"/>
                </a:lnTo>
                <a:lnTo>
                  <a:pt x="48" y="11"/>
                </a:lnTo>
                <a:lnTo>
                  <a:pt x="63" y="15"/>
                </a:lnTo>
                <a:lnTo>
                  <a:pt x="75" y="19"/>
                </a:lnTo>
                <a:lnTo>
                  <a:pt x="98" y="11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35" name="Freeform 481"/>
          <p:cNvSpPr>
            <a:spLocks/>
          </p:cNvSpPr>
          <p:nvPr/>
        </p:nvSpPr>
        <p:spPr bwMode="gray">
          <a:xfrm>
            <a:off x="6066101" y="3620833"/>
            <a:ext cx="30850" cy="56804"/>
          </a:xfrm>
          <a:custGeom>
            <a:avLst/>
            <a:gdLst>
              <a:gd name="T0" fmla="*/ 10 w 81"/>
              <a:gd name="T1" fmla="*/ 1 h 145"/>
              <a:gd name="T2" fmla="*/ 14 w 81"/>
              <a:gd name="T3" fmla="*/ 3 h 145"/>
              <a:gd name="T4" fmla="*/ 16 w 81"/>
              <a:gd name="T5" fmla="*/ 6 h 145"/>
              <a:gd name="T6" fmla="*/ 18 w 81"/>
              <a:gd name="T7" fmla="*/ 8 h 145"/>
              <a:gd name="T8" fmla="*/ 19 w 81"/>
              <a:gd name="T9" fmla="*/ 12 h 145"/>
              <a:gd name="T10" fmla="*/ 20 w 81"/>
              <a:gd name="T11" fmla="*/ 19 h 145"/>
              <a:gd name="T12" fmla="*/ 20 w 81"/>
              <a:gd name="T13" fmla="*/ 29 h 145"/>
              <a:gd name="T14" fmla="*/ 19 w 81"/>
              <a:gd name="T15" fmla="*/ 33 h 145"/>
              <a:gd name="T16" fmla="*/ 17 w 81"/>
              <a:gd name="T17" fmla="*/ 36 h 145"/>
              <a:gd name="T18" fmla="*/ 15 w 81"/>
              <a:gd name="T19" fmla="*/ 37 h 145"/>
              <a:gd name="T20" fmla="*/ 12 w 81"/>
              <a:gd name="T21" fmla="*/ 37 h 145"/>
              <a:gd name="T22" fmla="*/ 9 w 81"/>
              <a:gd name="T23" fmla="*/ 35 h 145"/>
              <a:gd name="T24" fmla="*/ 6 w 81"/>
              <a:gd name="T25" fmla="*/ 32 h 145"/>
              <a:gd name="T26" fmla="*/ 4 w 81"/>
              <a:gd name="T27" fmla="*/ 30 h 145"/>
              <a:gd name="T28" fmla="*/ 1 w 81"/>
              <a:gd name="T29" fmla="*/ 22 h 145"/>
              <a:gd name="T30" fmla="*/ 0 w 81"/>
              <a:gd name="T31" fmla="*/ 16 h 145"/>
              <a:gd name="T32" fmla="*/ 1 w 81"/>
              <a:gd name="T33" fmla="*/ 10 h 145"/>
              <a:gd name="T34" fmla="*/ 3 w 81"/>
              <a:gd name="T35" fmla="*/ 4 h 145"/>
              <a:gd name="T36" fmla="*/ 5 w 81"/>
              <a:gd name="T37" fmla="*/ 2 h 145"/>
              <a:gd name="T38" fmla="*/ 7 w 81"/>
              <a:gd name="T39" fmla="*/ 0 h 145"/>
              <a:gd name="T40" fmla="*/ 9 w 81"/>
              <a:gd name="T41" fmla="*/ 0 h 145"/>
              <a:gd name="T42" fmla="*/ 10 w 81"/>
              <a:gd name="T43" fmla="*/ 1 h 14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81"/>
              <a:gd name="T67" fmla="*/ 0 h 145"/>
              <a:gd name="T68" fmla="*/ 81 w 81"/>
              <a:gd name="T69" fmla="*/ 145 h 145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81" h="145">
                <a:moveTo>
                  <a:pt x="42" y="3"/>
                </a:moveTo>
                <a:lnTo>
                  <a:pt x="58" y="11"/>
                </a:lnTo>
                <a:lnTo>
                  <a:pt x="65" y="21"/>
                </a:lnTo>
                <a:lnTo>
                  <a:pt x="73" y="32"/>
                </a:lnTo>
                <a:lnTo>
                  <a:pt x="77" y="46"/>
                </a:lnTo>
                <a:lnTo>
                  <a:pt x="81" y="74"/>
                </a:lnTo>
                <a:lnTo>
                  <a:pt x="81" y="113"/>
                </a:lnTo>
                <a:lnTo>
                  <a:pt x="77" y="132"/>
                </a:lnTo>
                <a:lnTo>
                  <a:pt x="69" y="142"/>
                </a:lnTo>
                <a:lnTo>
                  <a:pt x="62" y="145"/>
                </a:lnTo>
                <a:lnTo>
                  <a:pt x="50" y="145"/>
                </a:lnTo>
                <a:lnTo>
                  <a:pt x="39" y="138"/>
                </a:lnTo>
                <a:lnTo>
                  <a:pt x="27" y="128"/>
                </a:lnTo>
                <a:lnTo>
                  <a:pt x="19" y="117"/>
                </a:lnTo>
                <a:lnTo>
                  <a:pt x="4" y="86"/>
                </a:lnTo>
                <a:lnTo>
                  <a:pt x="0" y="61"/>
                </a:lnTo>
                <a:lnTo>
                  <a:pt x="4" y="40"/>
                </a:lnTo>
                <a:lnTo>
                  <a:pt x="15" y="15"/>
                </a:lnTo>
                <a:lnTo>
                  <a:pt x="23" y="7"/>
                </a:lnTo>
                <a:lnTo>
                  <a:pt x="31" y="0"/>
                </a:lnTo>
                <a:lnTo>
                  <a:pt x="39" y="0"/>
                </a:lnTo>
                <a:lnTo>
                  <a:pt x="42" y="3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36" name="Freeform 482"/>
          <p:cNvSpPr>
            <a:spLocks/>
          </p:cNvSpPr>
          <p:nvPr/>
        </p:nvSpPr>
        <p:spPr bwMode="gray">
          <a:xfrm>
            <a:off x="6085383" y="3541464"/>
            <a:ext cx="36248" cy="24901"/>
          </a:xfrm>
          <a:custGeom>
            <a:avLst/>
            <a:gdLst>
              <a:gd name="T0" fmla="*/ 5 w 94"/>
              <a:gd name="T1" fmla="*/ 2 h 63"/>
              <a:gd name="T2" fmla="*/ 7 w 94"/>
              <a:gd name="T3" fmla="*/ 2 h 63"/>
              <a:gd name="T4" fmla="*/ 9 w 94"/>
              <a:gd name="T5" fmla="*/ 1 h 63"/>
              <a:gd name="T6" fmla="*/ 11 w 94"/>
              <a:gd name="T7" fmla="*/ 0 h 63"/>
              <a:gd name="T8" fmla="*/ 12 w 94"/>
              <a:gd name="T9" fmla="*/ 0 h 63"/>
              <a:gd name="T10" fmla="*/ 15 w 94"/>
              <a:gd name="T11" fmla="*/ 0 h 63"/>
              <a:gd name="T12" fmla="*/ 20 w 94"/>
              <a:gd name="T13" fmla="*/ 2 h 63"/>
              <a:gd name="T14" fmla="*/ 23 w 94"/>
              <a:gd name="T15" fmla="*/ 5 h 63"/>
              <a:gd name="T16" fmla="*/ 24 w 94"/>
              <a:gd name="T17" fmla="*/ 6 h 63"/>
              <a:gd name="T18" fmla="*/ 24 w 94"/>
              <a:gd name="T19" fmla="*/ 8 h 63"/>
              <a:gd name="T20" fmla="*/ 24 w 94"/>
              <a:gd name="T21" fmla="*/ 10 h 63"/>
              <a:gd name="T22" fmla="*/ 22 w 94"/>
              <a:gd name="T23" fmla="*/ 13 h 63"/>
              <a:gd name="T24" fmla="*/ 20 w 94"/>
              <a:gd name="T25" fmla="*/ 14 h 63"/>
              <a:gd name="T26" fmla="*/ 17 w 94"/>
              <a:gd name="T27" fmla="*/ 16 h 63"/>
              <a:gd name="T28" fmla="*/ 9 w 94"/>
              <a:gd name="T29" fmla="*/ 11 h 63"/>
              <a:gd name="T30" fmla="*/ 3 w 94"/>
              <a:gd name="T31" fmla="*/ 8 h 63"/>
              <a:gd name="T32" fmla="*/ 0 w 94"/>
              <a:gd name="T33" fmla="*/ 6 h 63"/>
              <a:gd name="T34" fmla="*/ 1 w 94"/>
              <a:gd name="T35" fmla="*/ 4 h 63"/>
              <a:gd name="T36" fmla="*/ 2 w 94"/>
              <a:gd name="T37" fmla="*/ 3 h 63"/>
              <a:gd name="T38" fmla="*/ 5 w 94"/>
              <a:gd name="T39" fmla="*/ 2 h 6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94"/>
              <a:gd name="T61" fmla="*/ 0 h 63"/>
              <a:gd name="T62" fmla="*/ 94 w 94"/>
              <a:gd name="T63" fmla="*/ 63 h 63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94" h="63">
                <a:moveTo>
                  <a:pt x="19" y="6"/>
                </a:moveTo>
                <a:lnTo>
                  <a:pt x="31" y="6"/>
                </a:lnTo>
                <a:lnTo>
                  <a:pt x="35" y="4"/>
                </a:lnTo>
                <a:lnTo>
                  <a:pt x="42" y="0"/>
                </a:lnTo>
                <a:lnTo>
                  <a:pt x="50" y="0"/>
                </a:lnTo>
                <a:lnTo>
                  <a:pt x="63" y="0"/>
                </a:lnTo>
                <a:lnTo>
                  <a:pt x="79" y="6"/>
                </a:lnTo>
                <a:lnTo>
                  <a:pt x="90" y="17"/>
                </a:lnTo>
                <a:lnTo>
                  <a:pt x="94" y="21"/>
                </a:lnTo>
                <a:lnTo>
                  <a:pt x="94" y="29"/>
                </a:lnTo>
                <a:lnTo>
                  <a:pt x="94" y="38"/>
                </a:lnTo>
                <a:lnTo>
                  <a:pt x="86" y="50"/>
                </a:lnTo>
                <a:lnTo>
                  <a:pt x="79" y="56"/>
                </a:lnTo>
                <a:lnTo>
                  <a:pt x="67" y="63"/>
                </a:lnTo>
                <a:lnTo>
                  <a:pt x="35" y="42"/>
                </a:lnTo>
                <a:lnTo>
                  <a:pt x="12" y="29"/>
                </a:lnTo>
                <a:lnTo>
                  <a:pt x="0" y="21"/>
                </a:lnTo>
                <a:lnTo>
                  <a:pt x="4" y="13"/>
                </a:lnTo>
                <a:lnTo>
                  <a:pt x="8" y="10"/>
                </a:lnTo>
                <a:lnTo>
                  <a:pt x="19" y="6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37" name="Freeform 483"/>
          <p:cNvSpPr>
            <a:spLocks/>
          </p:cNvSpPr>
          <p:nvPr/>
        </p:nvSpPr>
        <p:spPr bwMode="gray">
          <a:xfrm>
            <a:off x="6113149" y="3522011"/>
            <a:ext cx="29307" cy="16341"/>
          </a:xfrm>
          <a:custGeom>
            <a:avLst/>
            <a:gdLst>
              <a:gd name="T0" fmla="*/ 0 w 75"/>
              <a:gd name="T1" fmla="*/ 1 h 42"/>
              <a:gd name="T2" fmla="*/ 1 w 75"/>
              <a:gd name="T3" fmla="*/ 3 h 42"/>
              <a:gd name="T4" fmla="*/ 2 w 75"/>
              <a:gd name="T5" fmla="*/ 5 h 42"/>
              <a:gd name="T6" fmla="*/ 6 w 75"/>
              <a:gd name="T7" fmla="*/ 6 h 42"/>
              <a:gd name="T8" fmla="*/ 10 w 75"/>
              <a:gd name="T9" fmla="*/ 10 h 42"/>
              <a:gd name="T10" fmla="*/ 14 w 75"/>
              <a:gd name="T11" fmla="*/ 11 h 42"/>
              <a:gd name="T12" fmla="*/ 16 w 75"/>
              <a:gd name="T13" fmla="*/ 10 h 42"/>
              <a:gd name="T14" fmla="*/ 18 w 75"/>
              <a:gd name="T15" fmla="*/ 9 h 42"/>
              <a:gd name="T16" fmla="*/ 19 w 75"/>
              <a:gd name="T17" fmla="*/ 6 h 42"/>
              <a:gd name="T18" fmla="*/ 19 w 75"/>
              <a:gd name="T19" fmla="*/ 5 h 42"/>
              <a:gd name="T20" fmla="*/ 19 w 75"/>
              <a:gd name="T21" fmla="*/ 3 h 42"/>
              <a:gd name="T22" fmla="*/ 17 w 75"/>
              <a:gd name="T23" fmla="*/ 1 h 42"/>
              <a:gd name="T24" fmla="*/ 14 w 75"/>
              <a:gd name="T25" fmla="*/ 0 h 42"/>
              <a:gd name="T26" fmla="*/ 11 w 75"/>
              <a:gd name="T27" fmla="*/ 0 h 42"/>
              <a:gd name="T28" fmla="*/ 5 w 75"/>
              <a:gd name="T29" fmla="*/ 1 h 42"/>
              <a:gd name="T30" fmla="*/ 0 w 75"/>
              <a:gd name="T31" fmla="*/ 1 h 42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75"/>
              <a:gd name="T49" fmla="*/ 0 h 42"/>
              <a:gd name="T50" fmla="*/ 75 w 75"/>
              <a:gd name="T51" fmla="*/ 42 h 42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75" h="42">
                <a:moveTo>
                  <a:pt x="0" y="6"/>
                </a:moveTo>
                <a:lnTo>
                  <a:pt x="4" y="10"/>
                </a:lnTo>
                <a:lnTo>
                  <a:pt x="8" y="17"/>
                </a:lnTo>
                <a:lnTo>
                  <a:pt x="23" y="27"/>
                </a:lnTo>
                <a:lnTo>
                  <a:pt x="40" y="39"/>
                </a:lnTo>
                <a:lnTo>
                  <a:pt x="56" y="42"/>
                </a:lnTo>
                <a:lnTo>
                  <a:pt x="63" y="39"/>
                </a:lnTo>
                <a:lnTo>
                  <a:pt x="71" y="35"/>
                </a:lnTo>
                <a:lnTo>
                  <a:pt x="75" y="27"/>
                </a:lnTo>
                <a:lnTo>
                  <a:pt x="75" y="17"/>
                </a:lnTo>
                <a:lnTo>
                  <a:pt x="75" y="10"/>
                </a:lnTo>
                <a:lnTo>
                  <a:pt x="67" y="4"/>
                </a:lnTo>
                <a:lnTo>
                  <a:pt x="56" y="0"/>
                </a:lnTo>
                <a:lnTo>
                  <a:pt x="44" y="0"/>
                </a:lnTo>
                <a:lnTo>
                  <a:pt x="19" y="4"/>
                </a:lnTo>
                <a:lnTo>
                  <a:pt x="0" y="6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38" name="Freeform 484"/>
          <p:cNvSpPr>
            <a:spLocks/>
          </p:cNvSpPr>
          <p:nvPr/>
        </p:nvSpPr>
        <p:spPr bwMode="gray">
          <a:xfrm>
            <a:off x="6511110" y="3473765"/>
            <a:ext cx="33164" cy="20232"/>
          </a:xfrm>
          <a:custGeom>
            <a:avLst/>
            <a:gdLst>
              <a:gd name="T0" fmla="*/ 18 w 86"/>
              <a:gd name="T1" fmla="*/ 0 h 52"/>
              <a:gd name="T2" fmla="*/ 12 w 86"/>
              <a:gd name="T3" fmla="*/ 1 h 52"/>
              <a:gd name="T4" fmla="*/ 7 w 86"/>
              <a:gd name="T5" fmla="*/ 2 h 52"/>
              <a:gd name="T6" fmla="*/ 0 w 86"/>
              <a:gd name="T7" fmla="*/ 4 h 52"/>
              <a:gd name="T8" fmla="*/ 1 w 86"/>
              <a:gd name="T9" fmla="*/ 7 h 52"/>
              <a:gd name="T10" fmla="*/ 1 w 86"/>
              <a:gd name="T11" fmla="*/ 9 h 52"/>
              <a:gd name="T12" fmla="*/ 6 w 86"/>
              <a:gd name="T13" fmla="*/ 12 h 52"/>
              <a:gd name="T14" fmla="*/ 12 w 86"/>
              <a:gd name="T15" fmla="*/ 12 h 52"/>
              <a:gd name="T16" fmla="*/ 15 w 86"/>
              <a:gd name="T17" fmla="*/ 13 h 52"/>
              <a:gd name="T18" fmla="*/ 19 w 86"/>
              <a:gd name="T19" fmla="*/ 12 h 52"/>
              <a:gd name="T20" fmla="*/ 20 w 86"/>
              <a:gd name="T21" fmla="*/ 12 h 52"/>
              <a:gd name="T22" fmla="*/ 21 w 86"/>
              <a:gd name="T23" fmla="*/ 12 h 52"/>
              <a:gd name="T24" fmla="*/ 22 w 86"/>
              <a:gd name="T25" fmla="*/ 10 h 52"/>
              <a:gd name="T26" fmla="*/ 21 w 86"/>
              <a:gd name="T27" fmla="*/ 6 h 52"/>
              <a:gd name="T28" fmla="*/ 20 w 86"/>
              <a:gd name="T29" fmla="*/ 4 h 52"/>
              <a:gd name="T30" fmla="*/ 18 w 86"/>
              <a:gd name="T31" fmla="*/ 2 h 52"/>
              <a:gd name="T32" fmla="*/ 18 w 86"/>
              <a:gd name="T33" fmla="*/ 0 h 5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86"/>
              <a:gd name="T52" fmla="*/ 0 h 52"/>
              <a:gd name="T53" fmla="*/ 86 w 86"/>
              <a:gd name="T54" fmla="*/ 52 h 52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86" h="52">
                <a:moveTo>
                  <a:pt x="71" y="0"/>
                </a:moveTo>
                <a:lnTo>
                  <a:pt x="50" y="4"/>
                </a:lnTo>
                <a:lnTo>
                  <a:pt x="30" y="8"/>
                </a:lnTo>
                <a:lnTo>
                  <a:pt x="0" y="16"/>
                </a:lnTo>
                <a:lnTo>
                  <a:pt x="4" y="27"/>
                </a:lnTo>
                <a:lnTo>
                  <a:pt x="7" y="35"/>
                </a:lnTo>
                <a:lnTo>
                  <a:pt x="27" y="45"/>
                </a:lnTo>
                <a:lnTo>
                  <a:pt x="50" y="48"/>
                </a:lnTo>
                <a:lnTo>
                  <a:pt x="63" y="52"/>
                </a:lnTo>
                <a:lnTo>
                  <a:pt x="75" y="48"/>
                </a:lnTo>
                <a:lnTo>
                  <a:pt x="78" y="48"/>
                </a:lnTo>
                <a:lnTo>
                  <a:pt x="82" y="45"/>
                </a:lnTo>
                <a:lnTo>
                  <a:pt x="86" y="39"/>
                </a:lnTo>
                <a:lnTo>
                  <a:pt x="82" y="23"/>
                </a:lnTo>
                <a:lnTo>
                  <a:pt x="78" y="16"/>
                </a:lnTo>
                <a:lnTo>
                  <a:pt x="71" y="8"/>
                </a:lnTo>
                <a:lnTo>
                  <a:pt x="71" y="0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39" name="Freeform 485"/>
          <p:cNvSpPr>
            <a:spLocks/>
          </p:cNvSpPr>
          <p:nvPr/>
        </p:nvSpPr>
        <p:spPr bwMode="gray">
          <a:xfrm>
            <a:off x="6013658" y="3228651"/>
            <a:ext cx="62471" cy="74702"/>
          </a:xfrm>
          <a:custGeom>
            <a:avLst/>
            <a:gdLst>
              <a:gd name="T0" fmla="*/ 0 w 161"/>
              <a:gd name="T1" fmla="*/ 22 h 192"/>
              <a:gd name="T2" fmla="*/ 1 w 161"/>
              <a:gd name="T3" fmla="*/ 30 h 192"/>
              <a:gd name="T4" fmla="*/ 3 w 161"/>
              <a:gd name="T5" fmla="*/ 36 h 192"/>
              <a:gd name="T6" fmla="*/ 5 w 161"/>
              <a:gd name="T7" fmla="*/ 39 h 192"/>
              <a:gd name="T8" fmla="*/ 7 w 161"/>
              <a:gd name="T9" fmla="*/ 43 h 192"/>
              <a:gd name="T10" fmla="*/ 10 w 161"/>
              <a:gd name="T11" fmla="*/ 45 h 192"/>
              <a:gd name="T12" fmla="*/ 14 w 161"/>
              <a:gd name="T13" fmla="*/ 47 h 192"/>
              <a:gd name="T14" fmla="*/ 18 w 161"/>
              <a:gd name="T15" fmla="*/ 48 h 192"/>
              <a:gd name="T16" fmla="*/ 21 w 161"/>
              <a:gd name="T17" fmla="*/ 47 h 192"/>
              <a:gd name="T18" fmla="*/ 25 w 161"/>
              <a:gd name="T19" fmla="*/ 45 h 192"/>
              <a:gd name="T20" fmla="*/ 29 w 161"/>
              <a:gd name="T21" fmla="*/ 44 h 192"/>
              <a:gd name="T22" fmla="*/ 33 w 161"/>
              <a:gd name="T23" fmla="*/ 41 h 192"/>
              <a:gd name="T24" fmla="*/ 36 w 161"/>
              <a:gd name="T25" fmla="*/ 37 h 192"/>
              <a:gd name="T26" fmla="*/ 39 w 161"/>
              <a:gd name="T27" fmla="*/ 34 h 192"/>
              <a:gd name="T28" fmla="*/ 40 w 161"/>
              <a:gd name="T29" fmla="*/ 29 h 192"/>
              <a:gd name="T30" fmla="*/ 41 w 161"/>
              <a:gd name="T31" fmla="*/ 26 h 192"/>
              <a:gd name="T32" fmla="*/ 41 w 161"/>
              <a:gd name="T33" fmla="*/ 23 h 192"/>
              <a:gd name="T34" fmla="*/ 39 w 161"/>
              <a:gd name="T35" fmla="*/ 20 h 192"/>
              <a:gd name="T36" fmla="*/ 36 w 161"/>
              <a:gd name="T37" fmla="*/ 13 h 192"/>
              <a:gd name="T38" fmla="*/ 33 w 161"/>
              <a:gd name="T39" fmla="*/ 7 h 192"/>
              <a:gd name="T40" fmla="*/ 32 w 161"/>
              <a:gd name="T41" fmla="*/ 3 h 192"/>
              <a:gd name="T42" fmla="*/ 31 w 161"/>
              <a:gd name="T43" fmla="*/ 0 h 192"/>
              <a:gd name="T44" fmla="*/ 18 w 161"/>
              <a:gd name="T45" fmla="*/ 0 h 192"/>
              <a:gd name="T46" fmla="*/ 13 w 161"/>
              <a:gd name="T47" fmla="*/ 1 h 192"/>
              <a:gd name="T48" fmla="*/ 8 w 161"/>
              <a:gd name="T49" fmla="*/ 3 h 192"/>
              <a:gd name="T50" fmla="*/ 5 w 161"/>
              <a:gd name="T51" fmla="*/ 6 h 192"/>
              <a:gd name="T52" fmla="*/ 2 w 161"/>
              <a:gd name="T53" fmla="*/ 9 h 192"/>
              <a:gd name="T54" fmla="*/ 1 w 161"/>
              <a:gd name="T55" fmla="*/ 14 h 192"/>
              <a:gd name="T56" fmla="*/ 0 w 161"/>
              <a:gd name="T57" fmla="*/ 22 h 19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61"/>
              <a:gd name="T88" fmla="*/ 0 h 192"/>
              <a:gd name="T89" fmla="*/ 161 w 161"/>
              <a:gd name="T90" fmla="*/ 192 h 192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61" h="192">
                <a:moveTo>
                  <a:pt x="0" y="86"/>
                </a:moveTo>
                <a:lnTo>
                  <a:pt x="4" y="123"/>
                </a:lnTo>
                <a:lnTo>
                  <a:pt x="11" y="142"/>
                </a:lnTo>
                <a:lnTo>
                  <a:pt x="19" y="155"/>
                </a:lnTo>
                <a:lnTo>
                  <a:pt x="27" y="171"/>
                </a:lnTo>
                <a:lnTo>
                  <a:pt x="38" y="180"/>
                </a:lnTo>
                <a:lnTo>
                  <a:pt x="54" y="188"/>
                </a:lnTo>
                <a:lnTo>
                  <a:pt x="69" y="192"/>
                </a:lnTo>
                <a:lnTo>
                  <a:pt x="84" y="188"/>
                </a:lnTo>
                <a:lnTo>
                  <a:pt x="100" y="180"/>
                </a:lnTo>
                <a:lnTo>
                  <a:pt x="115" y="174"/>
                </a:lnTo>
                <a:lnTo>
                  <a:pt x="130" y="163"/>
                </a:lnTo>
                <a:lnTo>
                  <a:pt x="142" y="148"/>
                </a:lnTo>
                <a:lnTo>
                  <a:pt x="153" y="134"/>
                </a:lnTo>
                <a:lnTo>
                  <a:pt x="157" y="119"/>
                </a:lnTo>
                <a:lnTo>
                  <a:pt x="161" y="105"/>
                </a:lnTo>
                <a:lnTo>
                  <a:pt x="161" y="90"/>
                </a:lnTo>
                <a:lnTo>
                  <a:pt x="153" y="77"/>
                </a:lnTo>
                <a:lnTo>
                  <a:pt x="142" y="54"/>
                </a:lnTo>
                <a:lnTo>
                  <a:pt x="130" y="29"/>
                </a:lnTo>
                <a:lnTo>
                  <a:pt x="127" y="15"/>
                </a:lnTo>
                <a:lnTo>
                  <a:pt x="123" y="0"/>
                </a:lnTo>
                <a:lnTo>
                  <a:pt x="69" y="0"/>
                </a:lnTo>
                <a:lnTo>
                  <a:pt x="50" y="4"/>
                </a:lnTo>
                <a:lnTo>
                  <a:pt x="31" y="11"/>
                </a:lnTo>
                <a:lnTo>
                  <a:pt x="19" y="21"/>
                </a:lnTo>
                <a:lnTo>
                  <a:pt x="8" y="36"/>
                </a:lnTo>
                <a:lnTo>
                  <a:pt x="4" y="57"/>
                </a:lnTo>
                <a:lnTo>
                  <a:pt x="0" y="86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40" name="Freeform 486"/>
          <p:cNvSpPr>
            <a:spLocks/>
          </p:cNvSpPr>
          <p:nvPr/>
        </p:nvSpPr>
        <p:spPr bwMode="gray">
          <a:xfrm>
            <a:off x="6067644" y="3224761"/>
            <a:ext cx="39334" cy="24901"/>
          </a:xfrm>
          <a:custGeom>
            <a:avLst/>
            <a:gdLst>
              <a:gd name="T0" fmla="*/ 0 w 102"/>
              <a:gd name="T1" fmla="*/ 5 h 64"/>
              <a:gd name="T2" fmla="*/ 1 w 102"/>
              <a:gd name="T3" fmla="*/ 8 h 64"/>
              <a:gd name="T4" fmla="*/ 3 w 102"/>
              <a:gd name="T5" fmla="*/ 11 h 64"/>
              <a:gd name="T6" fmla="*/ 6 w 102"/>
              <a:gd name="T7" fmla="*/ 14 h 64"/>
              <a:gd name="T8" fmla="*/ 9 w 102"/>
              <a:gd name="T9" fmla="*/ 16 h 64"/>
              <a:gd name="T10" fmla="*/ 13 w 102"/>
              <a:gd name="T11" fmla="*/ 15 h 64"/>
              <a:gd name="T12" fmla="*/ 18 w 102"/>
              <a:gd name="T13" fmla="*/ 12 h 64"/>
              <a:gd name="T14" fmla="*/ 21 w 102"/>
              <a:gd name="T15" fmla="*/ 10 h 64"/>
              <a:gd name="T16" fmla="*/ 26 w 102"/>
              <a:gd name="T17" fmla="*/ 9 h 64"/>
              <a:gd name="T18" fmla="*/ 26 w 102"/>
              <a:gd name="T19" fmla="*/ 5 h 64"/>
              <a:gd name="T20" fmla="*/ 25 w 102"/>
              <a:gd name="T21" fmla="*/ 3 h 64"/>
              <a:gd name="T22" fmla="*/ 22 w 102"/>
              <a:gd name="T23" fmla="*/ 1 h 64"/>
              <a:gd name="T24" fmla="*/ 18 w 102"/>
              <a:gd name="T25" fmla="*/ 1 h 64"/>
              <a:gd name="T26" fmla="*/ 13 w 102"/>
              <a:gd name="T27" fmla="*/ 0 h 64"/>
              <a:gd name="T28" fmla="*/ 7 w 102"/>
              <a:gd name="T29" fmla="*/ 1 h 64"/>
              <a:gd name="T30" fmla="*/ 3 w 102"/>
              <a:gd name="T31" fmla="*/ 1 h 64"/>
              <a:gd name="T32" fmla="*/ 1 w 102"/>
              <a:gd name="T33" fmla="*/ 2 h 64"/>
              <a:gd name="T34" fmla="*/ 0 w 102"/>
              <a:gd name="T35" fmla="*/ 4 h 64"/>
              <a:gd name="T36" fmla="*/ 0 w 102"/>
              <a:gd name="T37" fmla="*/ 5 h 64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02"/>
              <a:gd name="T58" fmla="*/ 0 h 64"/>
              <a:gd name="T59" fmla="*/ 102 w 102"/>
              <a:gd name="T60" fmla="*/ 64 h 64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02" h="64">
                <a:moveTo>
                  <a:pt x="0" y="21"/>
                </a:moveTo>
                <a:lnTo>
                  <a:pt x="4" y="35"/>
                </a:lnTo>
                <a:lnTo>
                  <a:pt x="11" y="46"/>
                </a:lnTo>
                <a:lnTo>
                  <a:pt x="23" y="56"/>
                </a:lnTo>
                <a:lnTo>
                  <a:pt x="35" y="64"/>
                </a:lnTo>
                <a:lnTo>
                  <a:pt x="50" y="60"/>
                </a:lnTo>
                <a:lnTo>
                  <a:pt x="69" y="50"/>
                </a:lnTo>
                <a:lnTo>
                  <a:pt x="84" y="42"/>
                </a:lnTo>
                <a:lnTo>
                  <a:pt x="102" y="39"/>
                </a:lnTo>
                <a:lnTo>
                  <a:pt x="102" y="21"/>
                </a:lnTo>
                <a:lnTo>
                  <a:pt x="98" y="14"/>
                </a:lnTo>
                <a:lnTo>
                  <a:pt x="88" y="6"/>
                </a:lnTo>
                <a:lnTo>
                  <a:pt x="69" y="4"/>
                </a:lnTo>
                <a:lnTo>
                  <a:pt x="50" y="0"/>
                </a:lnTo>
                <a:lnTo>
                  <a:pt x="31" y="4"/>
                </a:lnTo>
                <a:lnTo>
                  <a:pt x="15" y="6"/>
                </a:lnTo>
                <a:lnTo>
                  <a:pt x="4" y="10"/>
                </a:lnTo>
                <a:lnTo>
                  <a:pt x="0" y="17"/>
                </a:lnTo>
                <a:lnTo>
                  <a:pt x="0" y="21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41" name="Freeform 487"/>
          <p:cNvSpPr>
            <a:spLocks/>
          </p:cNvSpPr>
          <p:nvPr/>
        </p:nvSpPr>
        <p:spPr bwMode="gray">
          <a:xfrm>
            <a:off x="5941160" y="3189745"/>
            <a:ext cx="18510" cy="38129"/>
          </a:xfrm>
          <a:custGeom>
            <a:avLst/>
            <a:gdLst>
              <a:gd name="T0" fmla="*/ 0 w 48"/>
              <a:gd name="T1" fmla="*/ 21 h 98"/>
              <a:gd name="T2" fmla="*/ 1 w 48"/>
              <a:gd name="T3" fmla="*/ 25 h 98"/>
              <a:gd name="T4" fmla="*/ 3 w 48"/>
              <a:gd name="T5" fmla="*/ 23 h 98"/>
              <a:gd name="T6" fmla="*/ 6 w 48"/>
              <a:gd name="T7" fmla="*/ 21 h 98"/>
              <a:gd name="T8" fmla="*/ 9 w 48"/>
              <a:gd name="T9" fmla="*/ 13 h 98"/>
              <a:gd name="T10" fmla="*/ 11 w 48"/>
              <a:gd name="T11" fmla="*/ 6 h 98"/>
              <a:gd name="T12" fmla="*/ 12 w 48"/>
              <a:gd name="T13" fmla="*/ 0 h 98"/>
              <a:gd name="T14" fmla="*/ 11 w 48"/>
              <a:gd name="T15" fmla="*/ 1 h 98"/>
              <a:gd name="T16" fmla="*/ 9 w 48"/>
              <a:gd name="T17" fmla="*/ 2 h 98"/>
              <a:gd name="T18" fmla="*/ 3 w 48"/>
              <a:gd name="T19" fmla="*/ 7 h 98"/>
              <a:gd name="T20" fmla="*/ 1 w 48"/>
              <a:gd name="T21" fmla="*/ 14 h 98"/>
              <a:gd name="T22" fmla="*/ 0 w 48"/>
              <a:gd name="T23" fmla="*/ 21 h 9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8"/>
              <a:gd name="T37" fmla="*/ 0 h 98"/>
              <a:gd name="T38" fmla="*/ 48 w 48"/>
              <a:gd name="T39" fmla="*/ 98 h 9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8" h="98">
                <a:moveTo>
                  <a:pt x="0" y="81"/>
                </a:moveTo>
                <a:lnTo>
                  <a:pt x="4" y="98"/>
                </a:lnTo>
                <a:lnTo>
                  <a:pt x="11" y="90"/>
                </a:lnTo>
                <a:lnTo>
                  <a:pt x="23" y="81"/>
                </a:lnTo>
                <a:lnTo>
                  <a:pt x="34" y="54"/>
                </a:lnTo>
                <a:lnTo>
                  <a:pt x="42" y="25"/>
                </a:lnTo>
                <a:lnTo>
                  <a:pt x="48" y="0"/>
                </a:lnTo>
                <a:lnTo>
                  <a:pt x="42" y="4"/>
                </a:lnTo>
                <a:lnTo>
                  <a:pt x="34" y="8"/>
                </a:lnTo>
                <a:lnTo>
                  <a:pt x="15" y="29"/>
                </a:lnTo>
                <a:lnTo>
                  <a:pt x="4" y="58"/>
                </a:lnTo>
                <a:lnTo>
                  <a:pt x="0" y="81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42" name="Freeform 488"/>
          <p:cNvSpPr>
            <a:spLocks/>
          </p:cNvSpPr>
          <p:nvPr/>
        </p:nvSpPr>
        <p:spPr bwMode="gray">
          <a:xfrm>
            <a:off x="5972782" y="3171847"/>
            <a:ext cx="19281" cy="21010"/>
          </a:xfrm>
          <a:custGeom>
            <a:avLst/>
            <a:gdLst>
              <a:gd name="T0" fmla="*/ 0 w 50"/>
              <a:gd name="T1" fmla="*/ 9 h 54"/>
              <a:gd name="T2" fmla="*/ 1 w 50"/>
              <a:gd name="T3" fmla="*/ 10 h 54"/>
              <a:gd name="T4" fmla="*/ 2 w 50"/>
              <a:gd name="T5" fmla="*/ 12 h 54"/>
              <a:gd name="T6" fmla="*/ 4 w 50"/>
              <a:gd name="T7" fmla="*/ 13 h 54"/>
              <a:gd name="T8" fmla="*/ 6 w 50"/>
              <a:gd name="T9" fmla="*/ 14 h 54"/>
              <a:gd name="T10" fmla="*/ 9 w 50"/>
              <a:gd name="T11" fmla="*/ 13 h 54"/>
              <a:gd name="T12" fmla="*/ 10 w 50"/>
              <a:gd name="T13" fmla="*/ 12 h 54"/>
              <a:gd name="T14" fmla="*/ 12 w 50"/>
              <a:gd name="T15" fmla="*/ 9 h 54"/>
              <a:gd name="T16" fmla="*/ 13 w 50"/>
              <a:gd name="T17" fmla="*/ 1 h 54"/>
              <a:gd name="T18" fmla="*/ 10 w 50"/>
              <a:gd name="T19" fmla="*/ 0 h 54"/>
              <a:gd name="T20" fmla="*/ 7 w 50"/>
              <a:gd name="T21" fmla="*/ 0 h 54"/>
              <a:gd name="T22" fmla="*/ 6 w 50"/>
              <a:gd name="T23" fmla="*/ 1 h 54"/>
              <a:gd name="T24" fmla="*/ 6 w 50"/>
              <a:gd name="T25" fmla="*/ 2 h 54"/>
              <a:gd name="T26" fmla="*/ 4 w 50"/>
              <a:gd name="T27" fmla="*/ 3 h 54"/>
              <a:gd name="T28" fmla="*/ 1 w 50"/>
              <a:gd name="T29" fmla="*/ 6 h 54"/>
              <a:gd name="T30" fmla="*/ 0 w 50"/>
              <a:gd name="T31" fmla="*/ 9 h 54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50"/>
              <a:gd name="T49" fmla="*/ 0 h 54"/>
              <a:gd name="T50" fmla="*/ 50 w 50"/>
              <a:gd name="T51" fmla="*/ 54 h 54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50" h="54">
                <a:moveTo>
                  <a:pt x="0" y="33"/>
                </a:moveTo>
                <a:lnTo>
                  <a:pt x="4" y="40"/>
                </a:lnTo>
                <a:lnTo>
                  <a:pt x="8" y="46"/>
                </a:lnTo>
                <a:lnTo>
                  <a:pt x="16" y="50"/>
                </a:lnTo>
                <a:lnTo>
                  <a:pt x="27" y="54"/>
                </a:lnTo>
                <a:lnTo>
                  <a:pt x="35" y="50"/>
                </a:lnTo>
                <a:lnTo>
                  <a:pt x="39" y="46"/>
                </a:lnTo>
                <a:lnTo>
                  <a:pt x="46" y="33"/>
                </a:lnTo>
                <a:lnTo>
                  <a:pt x="50" y="4"/>
                </a:lnTo>
                <a:lnTo>
                  <a:pt x="39" y="0"/>
                </a:lnTo>
                <a:lnTo>
                  <a:pt x="31" y="0"/>
                </a:lnTo>
                <a:lnTo>
                  <a:pt x="27" y="4"/>
                </a:lnTo>
                <a:lnTo>
                  <a:pt x="23" y="8"/>
                </a:lnTo>
                <a:lnTo>
                  <a:pt x="16" y="13"/>
                </a:lnTo>
                <a:lnTo>
                  <a:pt x="4" y="21"/>
                </a:lnTo>
                <a:lnTo>
                  <a:pt x="0" y="33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43" name="Freeform 489"/>
          <p:cNvSpPr>
            <a:spLocks/>
          </p:cNvSpPr>
          <p:nvPr/>
        </p:nvSpPr>
        <p:spPr bwMode="gray">
          <a:xfrm>
            <a:off x="5773028" y="3310356"/>
            <a:ext cx="17738" cy="35016"/>
          </a:xfrm>
          <a:custGeom>
            <a:avLst/>
            <a:gdLst>
              <a:gd name="T0" fmla="*/ 6 w 46"/>
              <a:gd name="T1" fmla="*/ 0 h 90"/>
              <a:gd name="T2" fmla="*/ 9 w 46"/>
              <a:gd name="T3" fmla="*/ 0 h 90"/>
              <a:gd name="T4" fmla="*/ 10 w 46"/>
              <a:gd name="T5" fmla="*/ 2 h 90"/>
              <a:gd name="T6" fmla="*/ 10 w 46"/>
              <a:gd name="T7" fmla="*/ 6 h 90"/>
              <a:gd name="T8" fmla="*/ 10 w 46"/>
              <a:gd name="T9" fmla="*/ 7 h 90"/>
              <a:gd name="T10" fmla="*/ 10 w 46"/>
              <a:gd name="T11" fmla="*/ 9 h 90"/>
              <a:gd name="T12" fmla="*/ 12 w 46"/>
              <a:gd name="T13" fmla="*/ 10 h 90"/>
              <a:gd name="T14" fmla="*/ 12 w 46"/>
              <a:gd name="T15" fmla="*/ 12 h 90"/>
              <a:gd name="T16" fmla="*/ 12 w 46"/>
              <a:gd name="T17" fmla="*/ 19 h 90"/>
              <a:gd name="T18" fmla="*/ 10 w 46"/>
              <a:gd name="T19" fmla="*/ 21 h 90"/>
              <a:gd name="T20" fmla="*/ 10 w 46"/>
              <a:gd name="T21" fmla="*/ 22 h 90"/>
              <a:gd name="T22" fmla="*/ 9 w 46"/>
              <a:gd name="T23" fmla="*/ 23 h 90"/>
              <a:gd name="T24" fmla="*/ 6 w 46"/>
              <a:gd name="T25" fmla="*/ 22 h 90"/>
              <a:gd name="T26" fmla="*/ 5 w 46"/>
              <a:gd name="T27" fmla="*/ 21 h 90"/>
              <a:gd name="T28" fmla="*/ 2 w 46"/>
              <a:gd name="T29" fmla="*/ 14 h 90"/>
              <a:gd name="T30" fmla="*/ 1 w 46"/>
              <a:gd name="T31" fmla="*/ 9 h 90"/>
              <a:gd name="T32" fmla="*/ 0 w 46"/>
              <a:gd name="T33" fmla="*/ 5 h 90"/>
              <a:gd name="T34" fmla="*/ 1 w 46"/>
              <a:gd name="T35" fmla="*/ 2 h 90"/>
              <a:gd name="T36" fmla="*/ 2 w 46"/>
              <a:gd name="T37" fmla="*/ 1 h 90"/>
              <a:gd name="T38" fmla="*/ 5 w 46"/>
              <a:gd name="T39" fmla="*/ 0 h 90"/>
              <a:gd name="T40" fmla="*/ 6 w 46"/>
              <a:gd name="T41" fmla="*/ 0 h 90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46"/>
              <a:gd name="T64" fmla="*/ 0 h 90"/>
              <a:gd name="T65" fmla="*/ 46 w 46"/>
              <a:gd name="T66" fmla="*/ 90 h 90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46" h="90">
                <a:moveTo>
                  <a:pt x="27" y="0"/>
                </a:moveTo>
                <a:lnTo>
                  <a:pt x="35" y="0"/>
                </a:lnTo>
                <a:lnTo>
                  <a:pt x="37" y="8"/>
                </a:lnTo>
                <a:lnTo>
                  <a:pt x="37" y="23"/>
                </a:lnTo>
                <a:lnTo>
                  <a:pt x="37" y="29"/>
                </a:lnTo>
                <a:lnTo>
                  <a:pt x="40" y="36"/>
                </a:lnTo>
                <a:lnTo>
                  <a:pt x="46" y="40"/>
                </a:lnTo>
                <a:lnTo>
                  <a:pt x="46" y="48"/>
                </a:lnTo>
                <a:lnTo>
                  <a:pt x="46" y="73"/>
                </a:lnTo>
                <a:lnTo>
                  <a:pt x="40" y="83"/>
                </a:lnTo>
                <a:lnTo>
                  <a:pt x="37" y="86"/>
                </a:lnTo>
                <a:lnTo>
                  <a:pt x="35" y="90"/>
                </a:lnTo>
                <a:lnTo>
                  <a:pt x="27" y="86"/>
                </a:lnTo>
                <a:lnTo>
                  <a:pt x="19" y="81"/>
                </a:lnTo>
                <a:lnTo>
                  <a:pt x="8" y="58"/>
                </a:lnTo>
                <a:lnTo>
                  <a:pt x="4" y="36"/>
                </a:lnTo>
                <a:lnTo>
                  <a:pt x="0" y="19"/>
                </a:lnTo>
                <a:lnTo>
                  <a:pt x="4" y="8"/>
                </a:lnTo>
                <a:lnTo>
                  <a:pt x="8" y="4"/>
                </a:lnTo>
                <a:lnTo>
                  <a:pt x="19" y="0"/>
                </a:lnTo>
                <a:lnTo>
                  <a:pt x="27" y="0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44" name="Freeform 490"/>
          <p:cNvSpPr>
            <a:spLocks/>
          </p:cNvSpPr>
          <p:nvPr/>
        </p:nvSpPr>
        <p:spPr bwMode="gray">
          <a:xfrm>
            <a:off x="5497696" y="2780443"/>
            <a:ext cx="303099" cy="147069"/>
          </a:xfrm>
          <a:custGeom>
            <a:avLst/>
            <a:gdLst>
              <a:gd name="T0" fmla="*/ 1 w 785"/>
              <a:gd name="T1" fmla="*/ 15 h 378"/>
              <a:gd name="T2" fmla="*/ 3 w 785"/>
              <a:gd name="T3" fmla="*/ 12 h 378"/>
              <a:gd name="T4" fmla="*/ 0 w 785"/>
              <a:gd name="T5" fmla="*/ 7 h 378"/>
              <a:gd name="T6" fmla="*/ 9 w 785"/>
              <a:gd name="T7" fmla="*/ 1 h 378"/>
              <a:gd name="T8" fmla="*/ 15 w 785"/>
              <a:gd name="T9" fmla="*/ 2 h 378"/>
              <a:gd name="T10" fmla="*/ 30 w 785"/>
              <a:gd name="T11" fmla="*/ 6 h 378"/>
              <a:gd name="T12" fmla="*/ 35 w 785"/>
              <a:gd name="T13" fmla="*/ 12 h 378"/>
              <a:gd name="T14" fmla="*/ 50 w 785"/>
              <a:gd name="T15" fmla="*/ 12 h 378"/>
              <a:gd name="T16" fmla="*/ 61 w 785"/>
              <a:gd name="T17" fmla="*/ 14 h 378"/>
              <a:gd name="T18" fmla="*/ 56 w 785"/>
              <a:gd name="T19" fmla="*/ 19 h 378"/>
              <a:gd name="T20" fmla="*/ 69 w 785"/>
              <a:gd name="T21" fmla="*/ 22 h 378"/>
              <a:gd name="T22" fmla="*/ 81 w 785"/>
              <a:gd name="T23" fmla="*/ 26 h 378"/>
              <a:gd name="T24" fmla="*/ 71 w 785"/>
              <a:gd name="T25" fmla="*/ 28 h 378"/>
              <a:gd name="T26" fmla="*/ 64 w 785"/>
              <a:gd name="T27" fmla="*/ 31 h 378"/>
              <a:gd name="T28" fmla="*/ 71 w 785"/>
              <a:gd name="T29" fmla="*/ 37 h 378"/>
              <a:gd name="T30" fmla="*/ 81 w 785"/>
              <a:gd name="T31" fmla="*/ 42 h 378"/>
              <a:gd name="T32" fmla="*/ 85 w 785"/>
              <a:gd name="T33" fmla="*/ 47 h 378"/>
              <a:gd name="T34" fmla="*/ 88 w 785"/>
              <a:gd name="T35" fmla="*/ 52 h 378"/>
              <a:gd name="T36" fmla="*/ 95 w 785"/>
              <a:gd name="T37" fmla="*/ 51 h 378"/>
              <a:gd name="T38" fmla="*/ 102 w 785"/>
              <a:gd name="T39" fmla="*/ 49 h 378"/>
              <a:gd name="T40" fmla="*/ 108 w 785"/>
              <a:gd name="T41" fmla="*/ 47 h 378"/>
              <a:gd name="T42" fmla="*/ 120 w 785"/>
              <a:gd name="T43" fmla="*/ 50 h 378"/>
              <a:gd name="T44" fmla="*/ 127 w 785"/>
              <a:gd name="T45" fmla="*/ 45 h 378"/>
              <a:gd name="T46" fmla="*/ 145 w 785"/>
              <a:gd name="T47" fmla="*/ 28 h 378"/>
              <a:gd name="T48" fmla="*/ 160 w 785"/>
              <a:gd name="T49" fmla="*/ 25 h 378"/>
              <a:gd name="T50" fmla="*/ 178 w 785"/>
              <a:gd name="T51" fmla="*/ 30 h 378"/>
              <a:gd name="T52" fmla="*/ 188 w 785"/>
              <a:gd name="T53" fmla="*/ 39 h 378"/>
              <a:gd name="T54" fmla="*/ 193 w 785"/>
              <a:gd name="T55" fmla="*/ 50 h 378"/>
              <a:gd name="T56" fmla="*/ 197 w 785"/>
              <a:gd name="T57" fmla="*/ 59 h 378"/>
              <a:gd name="T58" fmla="*/ 188 w 785"/>
              <a:gd name="T59" fmla="*/ 70 h 378"/>
              <a:gd name="T60" fmla="*/ 161 w 785"/>
              <a:gd name="T61" fmla="*/ 77 h 378"/>
              <a:gd name="T62" fmla="*/ 150 w 785"/>
              <a:gd name="T63" fmla="*/ 83 h 378"/>
              <a:gd name="T64" fmla="*/ 140 w 785"/>
              <a:gd name="T65" fmla="*/ 84 h 378"/>
              <a:gd name="T66" fmla="*/ 125 w 785"/>
              <a:gd name="T67" fmla="*/ 89 h 378"/>
              <a:gd name="T68" fmla="*/ 106 w 785"/>
              <a:gd name="T69" fmla="*/ 93 h 378"/>
              <a:gd name="T70" fmla="*/ 98 w 785"/>
              <a:gd name="T71" fmla="*/ 87 h 378"/>
              <a:gd name="T72" fmla="*/ 92 w 785"/>
              <a:gd name="T73" fmla="*/ 94 h 378"/>
              <a:gd name="T74" fmla="*/ 83 w 785"/>
              <a:gd name="T75" fmla="*/ 95 h 378"/>
              <a:gd name="T76" fmla="*/ 71 w 785"/>
              <a:gd name="T77" fmla="*/ 91 h 378"/>
              <a:gd name="T78" fmla="*/ 66 w 785"/>
              <a:gd name="T79" fmla="*/ 92 h 378"/>
              <a:gd name="T80" fmla="*/ 55 w 785"/>
              <a:gd name="T81" fmla="*/ 91 h 378"/>
              <a:gd name="T82" fmla="*/ 52 w 785"/>
              <a:gd name="T83" fmla="*/ 84 h 378"/>
              <a:gd name="T84" fmla="*/ 57 w 785"/>
              <a:gd name="T85" fmla="*/ 79 h 378"/>
              <a:gd name="T86" fmla="*/ 53 w 785"/>
              <a:gd name="T87" fmla="*/ 68 h 378"/>
              <a:gd name="T88" fmla="*/ 53 w 785"/>
              <a:gd name="T89" fmla="*/ 57 h 378"/>
              <a:gd name="T90" fmla="*/ 54 w 785"/>
              <a:gd name="T91" fmla="*/ 49 h 378"/>
              <a:gd name="T92" fmla="*/ 43 w 785"/>
              <a:gd name="T93" fmla="*/ 31 h 378"/>
              <a:gd name="T94" fmla="*/ 38 w 785"/>
              <a:gd name="T95" fmla="*/ 30 h 378"/>
              <a:gd name="T96" fmla="*/ 13 w 785"/>
              <a:gd name="T97" fmla="*/ 25 h 378"/>
              <a:gd name="T98" fmla="*/ 13 w 785"/>
              <a:gd name="T99" fmla="*/ 21 h 378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785"/>
              <a:gd name="T151" fmla="*/ 0 h 378"/>
              <a:gd name="T152" fmla="*/ 785 w 785"/>
              <a:gd name="T153" fmla="*/ 378 h 378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785" h="378">
                <a:moveTo>
                  <a:pt x="27" y="75"/>
                </a:moveTo>
                <a:lnTo>
                  <a:pt x="8" y="69"/>
                </a:lnTo>
                <a:lnTo>
                  <a:pt x="4" y="62"/>
                </a:lnTo>
                <a:lnTo>
                  <a:pt x="0" y="54"/>
                </a:lnTo>
                <a:lnTo>
                  <a:pt x="19" y="54"/>
                </a:lnTo>
                <a:lnTo>
                  <a:pt x="12" y="46"/>
                </a:lnTo>
                <a:lnTo>
                  <a:pt x="8" y="42"/>
                </a:lnTo>
                <a:lnTo>
                  <a:pt x="0" y="37"/>
                </a:lnTo>
                <a:lnTo>
                  <a:pt x="0" y="29"/>
                </a:lnTo>
                <a:lnTo>
                  <a:pt x="4" y="21"/>
                </a:lnTo>
                <a:lnTo>
                  <a:pt x="19" y="12"/>
                </a:lnTo>
                <a:lnTo>
                  <a:pt x="35" y="4"/>
                </a:lnTo>
                <a:lnTo>
                  <a:pt x="46" y="0"/>
                </a:lnTo>
                <a:lnTo>
                  <a:pt x="54" y="4"/>
                </a:lnTo>
                <a:lnTo>
                  <a:pt x="58" y="8"/>
                </a:lnTo>
                <a:lnTo>
                  <a:pt x="69" y="14"/>
                </a:lnTo>
                <a:lnTo>
                  <a:pt x="107" y="21"/>
                </a:lnTo>
                <a:lnTo>
                  <a:pt x="117" y="25"/>
                </a:lnTo>
                <a:lnTo>
                  <a:pt x="129" y="33"/>
                </a:lnTo>
                <a:lnTo>
                  <a:pt x="136" y="40"/>
                </a:lnTo>
                <a:lnTo>
                  <a:pt x="140" y="50"/>
                </a:lnTo>
                <a:lnTo>
                  <a:pt x="148" y="79"/>
                </a:lnTo>
                <a:lnTo>
                  <a:pt x="182" y="62"/>
                </a:lnTo>
                <a:lnTo>
                  <a:pt x="198" y="50"/>
                </a:lnTo>
                <a:lnTo>
                  <a:pt x="221" y="46"/>
                </a:lnTo>
                <a:lnTo>
                  <a:pt x="230" y="50"/>
                </a:lnTo>
                <a:lnTo>
                  <a:pt x="242" y="58"/>
                </a:lnTo>
                <a:lnTo>
                  <a:pt x="257" y="69"/>
                </a:lnTo>
                <a:lnTo>
                  <a:pt x="234" y="71"/>
                </a:lnTo>
                <a:lnTo>
                  <a:pt x="221" y="75"/>
                </a:lnTo>
                <a:lnTo>
                  <a:pt x="230" y="83"/>
                </a:lnTo>
                <a:lnTo>
                  <a:pt x="246" y="87"/>
                </a:lnTo>
                <a:lnTo>
                  <a:pt x="273" y="87"/>
                </a:lnTo>
                <a:lnTo>
                  <a:pt x="299" y="90"/>
                </a:lnTo>
                <a:lnTo>
                  <a:pt x="311" y="98"/>
                </a:lnTo>
                <a:lnTo>
                  <a:pt x="322" y="104"/>
                </a:lnTo>
                <a:lnTo>
                  <a:pt x="315" y="108"/>
                </a:lnTo>
                <a:lnTo>
                  <a:pt x="303" y="111"/>
                </a:lnTo>
                <a:lnTo>
                  <a:pt x="284" y="115"/>
                </a:lnTo>
                <a:lnTo>
                  <a:pt x="269" y="119"/>
                </a:lnTo>
                <a:lnTo>
                  <a:pt x="261" y="123"/>
                </a:lnTo>
                <a:lnTo>
                  <a:pt x="253" y="127"/>
                </a:lnTo>
                <a:lnTo>
                  <a:pt x="265" y="133"/>
                </a:lnTo>
                <a:lnTo>
                  <a:pt x="265" y="140"/>
                </a:lnTo>
                <a:lnTo>
                  <a:pt x="284" y="148"/>
                </a:lnTo>
                <a:lnTo>
                  <a:pt x="296" y="152"/>
                </a:lnTo>
                <a:lnTo>
                  <a:pt x="311" y="156"/>
                </a:lnTo>
                <a:lnTo>
                  <a:pt x="322" y="165"/>
                </a:lnTo>
                <a:lnTo>
                  <a:pt x="330" y="169"/>
                </a:lnTo>
                <a:lnTo>
                  <a:pt x="334" y="177"/>
                </a:lnTo>
                <a:lnTo>
                  <a:pt x="338" y="186"/>
                </a:lnTo>
                <a:lnTo>
                  <a:pt x="342" y="198"/>
                </a:lnTo>
                <a:lnTo>
                  <a:pt x="345" y="206"/>
                </a:lnTo>
                <a:lnTo>
                  <a:pt x="351" y="209"/>
                </a:lnTo>
                <a:lnTo>
                  <a:pt x="351" y="186"/>
                </a:lnTo>
                <a:lnTo>
                  <a:pt x="370" y="202"/>
                </a:lnTo>
                <a:lnTo>
                  <a:pt x="378" y="206"/>
                </a:lnTo>
                <a:lnTo>
                  <a:pt x="386" y="206"/>
                </a:lnTo>
                <a:lnTo>
                  <a:pt x="397" y="206"/>
                </a:lnTo>
                <a:lnTo>
                  <a:pt x="405" y="198"/>
                </a:lnTo>
                <a:lnTo>
                  <a:pt x="413" y="190"/>
                </a:lnTo>
                <a:lnTo>
                  <a:pt x="420" y="186"/>
                </a:lnTo>
                <a:lnTo>
                  <a:pt x="432" y="190"/>
                </a:lnTo>
                <a:lnTo>
                  <a:pt x="443" y="194"/>
                </a:lnTo>
                <a:lnTo>
                  <a:pt x="459" y="202"/>
                </a:lnTo>
                <a:lnTo>
                  <a:pt x="480" y="202"/>
                </a:lnTo>
                <a:lnTo>
                  <a:pt x="484" y="190"/>
                </a:lnTo>
                <a:lnTo>
                  <a:pt x="491" y="186"/>
                </a:lnTo>
                <a:lnTo>
                  <a:pt x="507" y="177"/>
                </a:lnTo>
                <a:lnTo>
                  <a:pt x="534" y="152"/>
                </a:lnTo>
                <a:lnTo>
                  <a:pt x="564" y="127"/>
                </a:lnTo>
                <a:lnTo>
                  <a:pt x="580" y="115"/>
                </a:lnTo>
                <a:lnTo>
                  <a:pt x="597" y="108"/>
                </a:lnTo>
                <a:lnTo>
                  <a:pt x="616" y="100"/>
                </a:lnTo>
                <a:lnTo>
                  <a:pt x="639" y="100"/>
                </a:lnTo>
                <a:lnTo>
                  <a:pt x="655" y="100"/>
                </a:lnTo>
                <a:lnTo>
                  <a:pt x="674" y="104"/>
                </a:lnTo>
                <a:lnTo>
                  <a:pt x="710" y="123"/>
                </a:lnTo>
                <a:lnTo>
                  <a:pt x="726" y="129"/>
                </a:lnTo>
                <a:lnTo>
                  <a:pt x="741" y="144"/>
                </a:lnTo>
                <a:lnTo>
                  <a:pt x="749" y="156"/>
                </a:lnTo>
                <a:lnTo>
                  <a:pt x="752" y="165"/>
                </a:lnTo>
                <a:lnTo>
                  <a:pt x="756" y="184"/>
                </a:lnTo>
                <a:lnTo>
                  <a:pt x="770" y="202"/>
                </a:lnTo>
                <a:lnTo>
                  <a:pt x="781" y="219"/>
                </a:lnTo>
                <a:lnTo>
                  <a:pt x="785" y="227"/>
                </a:lnTo>
                <a:lnTo>
                  <a:pt x="785" y="238"/>
                </a:lnTo>
                <a:lnTo>
                  <a:pt x="781" y="255"/>
                </a:lnTo>
                <a:lnTo>
                  <a:pt x="770" y="271"/>
                </a:lnTo>
                <a:lnTo>
                  <a:pt x="752" y="280"/>
                </a:lnTo>
                <a:lnTo>
                  <a:pt x="733" y="292"/>
                </a:lnTo>
                <a:lnTo>
                  <a:pt x="689" y="300"/>
                </a:lnTo>
                <a:lnTo>
                  <a:pt x="643" y="305"/>
                </a:lnTo>
                <a:lnTo>
                  <a:pt x="628" y="309"/>
                </a:lnTo>
                <a:lnTo>
                  <a:pt x="612" y="321"/>
                </a:lnTo>
                <a:lnTo>
                  <a:pt x="597" y="330"/>
                </a:lnTo>
                <a:lnTo>
                  <a:pt x="585" y="334"/>
                </a:lnTo>
                <a:lnTo>
                  <a:pt x="580" y="334"/>
                </a:lnTo>
                <a:lnTo>
                  <a:pt x="560" y="334"/>
                </a:lnTo>
                <a:lnTo>
                  <a:pt x="545" y="338"/>
                </a:lnTo>
                <a:lnTo>
                  <a:pt x="530" y="342"/>
                </a:lnTo>
                <a:lnTo>
                  <a:pt x="499" y="353"/>
                </a:lnTo>
                <a:lnTo>
                  <a:pt x="466" y="367"/>
                </a:lnTo>
                <a:lnTo>
                  <a:pt x="447" y="371"/>
                </a:lnTo>
                <a:lnTo>
                  <a:pt x="424" y="371"/>
                </a:lnTo>
                <a:lnTo>
                  <a:pt x="397" y="371"/>
                </a:lnTo>
                <a:lnTo>
                  <a:pt x="397" y="346"/>
                </a:lnTo>
                <a:lnTo>
                  <a:pt x="390" y="346"/>
                </a:lnTo>
                <a:lnTo>
                  <a:pt x="382" y="349"/>
                </a:lnTo>
                <a:lnTo>
                  <a:pt x="374" y="363"/>
                </a:lnTo>
                <a:lnTo>
                  <a:pt x="367" y="374"/>
                </a:lnTo>
                <a:lnTo>
                  <a:pt x="359" y="378"/>
                </a:lnTo>
                <a:lnTo>
                  <a:pt x="351" y="378"/>
                </a:lnTo>
                <a:lnTo>
                  <a:pt x="330" y="378"/>
                </a:lnTo>
                <a:lnTo>
                  <a:pt x="311" y="374"/>
                </a:lnTo>
                <a:lnTo>
                  <a:pt x="292" y="367"/>
                </a:lnTo>
                <a:lnTo>
                  <a:pt x="284" y="363"/>
                </a:lnTo>
                <a:lnTo>
                  <a:pt x="280" y="357"/>
                </a:lnTo>
                <a:lnTo>
                  <a:pt x="273" y="363"/>
                </a:lnTo>
                <a:lnTo>
                  <a:pt x="261" y="367"/>
                </a:lnTo>
                <a:lnTo>
                  <a:pt x="238" y="371"/>
                </a:lnTo>
                <a:lnTo>
                  <a:pt x="230" y="371"/>
                </a:lnTo>
                <a:lnTo>
                  <a:pt x="217" y="363"/>
                </a:lnTo>
                <a:lnTo>
                  <a:pt x="205" y="353"/>
                </a:lnTo>
                <a:lnTo>
                  <a:pt x="202" y="342"/>
                </a:lnTo>
                <a:lnTo>
                  <a:pt x="205" y="334"/>
                </a:lnTo>
                <a:lnTo>
                  <a:pt x="217" y="328"/>
                </a:lnTo>
                <a:lnTo>
                  <a:pt x="225" y="321"/>
                </a:lnTo>
                <a:lnTo>
                  <a:pt x="228" y="313"/>
                </a:lnTo>
                <a:lnTo>
                  <a:pt x="225" y="300"/>
                </a:lnTo>
                <a:lnTo>
                  <a:pt x="217" y="284"/>
                </a:lnTo>
                <a:lnTo>
                  <a:pt x="209" y="271"/>
                </a:lnTo>
                <a:lnTo>
                  <a:pt x="205" y="248"/>
                </a:lnTo>
                <a:lnTo>
                  <a:pt x="209" y="238"/>
                </a:lnTo>
                <a:lnTo>
                  <a:pt x="209" y="230"/>
                </a:lnTo>
                <a:lnTo>
                  <a:pt x="213" y="223"/>
                </a:lnTo>
                <a:lnTo>
                  <a:pt x="217" y="213"/>
                </a:lnTo>
                <a:lnTo>
                  <a:pt x="213" y="198"/>
                </a:lnTo>
                <a:lnTo>
                  <a:pt x="209" y="184"/>
                </a:lnTo>
                <a:lnTo>
                  <a:pt x="190" y="156"/>
                </a:lnTo>
                <a:lnTo>
                  <a:pt x="171" y="127"/>
                </a:lnTo>
                <a:lnTo>
                  <a:pt x="152" y="108"/>
                </a:lnTo>
                <a:lnTo>
                  <a:pt x="148" y="115"/>
                </a:lnTo>
                <a:lnTo>
                  <a:pt x="152" y="123"/>
                </a:lnTo>
                <a:lnTo>
                  <a:pt x="111" y="123"/>
                </a:lnTo>
                <a:lnTo>
                  <a:pt x="69" y="111"/>
                </a:lnTo>
                <a:lnTo>
                  <a:pt x="50" y="100"/>
                </a:lnTo>
                <a:lnTo>
                  <a:pt x="38" y="98"/>
                </a:lnTo>
                <a:lnTo>
                  <a:pt x="42" y="90"/>
                </a:lnTo>
                <a:lnTo>
                  <a:pt x="50" y="83"/>
                </a:lnTo>
                <a:lnTo>
                  <a:pt x="27" y="75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45" name="Freeform 491"/>
          <p:cNvSpPr>
            <a:spLocks/>
          </p:cNvSpPr>
          <p:nvPr/>
        </p:nvSpPr>
        <p:spPr bwMode="gray">
          <a:xfrm>
            <a:off x="5486897" y="2501868"/>
            <a:ext cx="150392" cy="200760"/>
          </a:xfrm>
          <a:custGeom>
            <a:avLst/>
            <a:gdLst>
              <a:gd name="T0" fmla="*/ 14 w 392"/>
              <a:gd name="T1" fmla="*/ 8 h 517"/>
              <a:gd name="T2" fmla="*/ 12 w 392"/>
              <a:gd name="T3" fmla="*/ 3 h 517"/>
              <a:gd name="T4" fmla="*/ 19 w 392"/>
              <a:gd name="T5" fmla="*/ 1 h 517"/>
              <a:gd name="T6" fmla="*/ 26 w 392"/>
              <a:gd name="T7" fmla="*/ 4 h 517"/>
              <a:gd name="T8" fmla="*/ 34 w 392"/>
              <a:gd name="T9" fmla="*/ 20 h 517"/>
              <a:gd name="T10" fmla="*/ 42 w 392"/>
              <a:gd name="T11" fmla="*/ 28 h 517"/>
              <a:gd name="T12" fmla="*/ 49 w 392"/>
              <a:gd name="T13" fmla="*/ 30 h 517"/>
              <a:gd name="T14" fmla="*/ 55 w 392"/>
              <a:gd name="T15" fmla="*/ 40 h 517"/>
              <a:gd name="T16" fmla="*/ 68 w 392"/>
              <a:gd name="T17" fmla="*/ 48 h 517"/>
              <a:gd name="T18" fmla="*/ 74 w 392"/>
              <a:gd name="T19" fmla="*/ 56 h 517"/>
              <a:gd name="T20" fmla="*/ 73 w 392"/>
              <a:gd name="T21" fmla="*/ 63 h 517"/>
              <a:gd name="T22" fmla="*/ 77 w 392"/>
              <a:gd name="T23" fmla="*/ 64 h 517"/>
              <a:gd name="T24" fmla="*/ 81 w 392"/>
              <a:gd name="T25" fmla="*/ 63 h 517"/>
              <a:gd name="T26" fmla="*/ 94 w 392"/>
              <a:gd name="T27" fmla="*/ 76 h 517"/>
              <a:gd name="T28" fmla="*/ 96 w 392"/>
              <a:gd name="T29" fmla="*/ 82 h 517"/>
              <a:gd name="T30" fmla="*/ 86 w 392"/>
              <a:gd name="T31" fmla="*/ 86 h 517"/>
              <a:gd name="T32" fmla="*/ 79 w 392"/>
              <a:gd name="T33" fmla="*/ 103 h 517"/>
              <a:gd name="T34" fmla="*/ 74 w 392"/>
              <a:gd name="T35" fmla="*/ 105 h 517"/>
              <a:gd name="T36" fmla="*/ 72 w 392"/>
              <a:gd name="T37" fmla="*/ 107 h 517"/>
              <a:gd name="T38" fmla="*/ 73 w 392"/>
              <a:gd name="T39" fmla="*/ 120 h 517"/>
              <a:gd name="T40" fmla="*/ 66 w 392"/>
              <a:gd name="T41" fmla="*/ 124 h 517"/>
              <a:gd name="T42" fmla="*/ 59 w 392"/>
              <a:gd name="T43" fmla="*/ 127 h 517"/>
              <a:gd name="T44" fmla="*/ 46 w 392"/>
              <a:gd name="T45" fmla="*/ 128 h 517"/>
              <a:gd name="T46" fmla="*/ 36 w 392"/>
              <a:gd name="T47" fmla="*/ 122 h 517"/>
              <a:gd name="T48" fmla="*/ 37 w 392"/>
              <a:gd name="T49" fmla="*/ 117 h 517"/>
              <a:gd name="T50" fmla="*/ 30 w 392"/>
              <a:gd name="T51" fmla="*/ 109 h 517"/>
              <a:gd name="T52" fmla="*/ 25 w 392"/>
              <a:gd name="T53" fmla="*/ 98 h 517"/>
              <a:gd name="T54" fmla="*/ 33 w 392"/>
              <a:gd name="T55" fmla="*/ 92 h 517"/>
              <a:gd name="T56" fmla="*/ 39 w 392"/>
              <a:gd name="T57" fmla="*/ 87 h 517"/>
              <a:gd name="T58" fmla="*/ 34 w 392"/>
              <a:gd name="T59" fmla="*/ 82 h 517"/>
              <a:gd name="T60" fmla="*/ 26 w 392"/>
              <a:gd name="T61" fmla="*/ 86 h 517"/>
              <a:gd name="T62" fmla="*/ 18 w 392"/>
              <a:gd name="T63" fmla="*/ 91 h 517"/>
              <a:gd name="T64" fmla="*/ 10 w 392"/>
              <a:gd name="T65" fmla="*/ 83 h 517"/>
              <a:gd name="T66" fmla="*/ 12 w 392"/>
              <a:gd name="T67" fmla="*/ 75 h 517"/>
              <a:gd name="T68" fmla="*/ 12 w 392"/>
              <a:gd name="T69" fmla="*/ 72 h 517"/>
              <a:gd name="T70" fmla="*/ 4 w 392"/>
              <a:gd name="T71" fmla="*/ 68 h 517"/>
              <a:gd name="T72" fmla="*/ 2 w 392"/>
              <a:gd name="T73" fmla="*/ 59 h 517"/>
              <a:gd name="T74" fmla="*/ 4 w 392"/>
              <a:gd name="T75" fmla="*/ 53 h 517"/>
              <a:gd name="T76" fmla="*/ 9 w 392"/>
              <a:gd name="T77" fmla="*/ 51 h 517"/>
              <a:gd name="T78" fmla="*/ 2 w 392"/>
              <a:gd name="T79" fmla="*/ 48 h 517"/>
              <a:gd name="T80" fmla="*/ 6 w 392"/>
              <a:gd name="T81" fmla="*/ 42 h 517"/>
              <a:gd name="T82" fmla="*/ 3 w 392"/>
              <a:gd name="T83" fmla="*/ 36 h 517"/>
              <a:gd name="T84" fmla="*/ 6 w 392"/>
              <a:gd name="T85" fmla="*/ 29 h 517"/>
              <a:gd name="T86" fmla="*/ 10 w 392"/>
              <a:gd name="T87" fmla="*/ 25 h 517"/>
              <a:gd name="T88" fmla="*/ 6 w 392"/>
              <a:gd name="T89" fmla="*/ 20 h 517"/>
              <a:gd name="T90" fmla="*/ 10 w 392"/>
              <a:gd name="T91" fmla="*/ 13 h 517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392"/>
              <a:gd name="T139" fmla="*/ 0 h 517"/>
              <a:gd name="T140" fmla="*/ 392 w 392"/>
              <a:gd name="T141" fmla="*/ 517 h 517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392" h="517">
                <a:moveTo>
                  <a:pt x="75" y="40"/>
                </a:moveTo>
                <a:lnTo>
                  <a:pt x="67" y="37"/>
                </a:lnTo>
                <a:lnTo>
                  <a:pt x="56" y="33"/>
                </a:lnTo>
                <a:lnTo>
                  <a:pt x="52" y="25"/>
                </a:lnTo>
                <a:lnTo>
                  <a:pt x="48" y="17"/>
                </a:lnTo>
                <a:lnTo>
                  <a:pt x="48" y="12"/>
                </a:lnTo>
                <a:lnTo>
                  <a:pt x="56" y="8"/>
                </a:lnTo>
                <a:lnTo>
                  <a:pt x="67" y="0"/>
                </a:lnTo>
                <a:lnTo>
                  <a:pt x="79" y="4"/>
                </a:lnTo>
                <a:lnTo>
                  <a:pt x="90" y="8"/>
                </a:lnTo>
                <a:lnTo>
                  <a:pt x="98" y="12"/>
                </a:lnTo>
                <a:lnTo>
                  <a:pt x="106" y="17"/>
                </a:lnTo>
                <a:lnTo>
                  <a:pt x="117" y="40"/>
                </a:lnTo>
                <a:lnTo>
                  <a:pt x="129" y="62"/>
                </a:lnTo>
                <a:lnTo>
                  <a:pt x="136" y="83"/>
                </a:lnTo>
                <a:lnTo>
                  <a:pt x="146" y="102"/>
                </a:lnTo>
                <a:lnTo>
                  <a:pt x="161" y="112"/>
                </a:lnTo>
                <a:lnTo>
                  <a:pt x="169" y="115"/>
                </a:lnTo>
                <a:lnTo>
                  <a:pt x="181" y="119"/>
                </a:lnTo>
                <a:lnTo>
                  <a:pt x="188" y="119"/>
                </a:lnTo>
                <a:lnTo>
                  <a:pt x="196" y="123"/>
                </a:lnTo>
                <a:lnTo>
                  <a:pt x="204" y="131"/>
                </a:lnTo>
                <a:lnTo>
                  <a:pt x="211" y="152"/>
                </a:lnTo>
                <a:lnTo>
                  <a:pt x="223" y="163"/>
                </a:lnTo>
                <a:lnTo>
                  <a:pt x="234" y="169"/>
                </a:lnTo>
                <a:lnTo>
                  <a:pt x="263" y="184"/>
                </a:lnTo>
                <a:lnTo>
                  <a:pt x="275" y="192"/>
                </a:lnTo>
                <a:lnTo>
                  <a:pt x="286" y="198"/>
                </a:lnTo>
                <a:lnTo>
                  <a:pt x="294" y="213"/>
                </a:lnTo>
                <a:lnTo>
                  <a:pt x="298" y="227"/>
                </a:lnTo>
                <a:lnTo>
                  <a:pt x="298" y="242"/>
                </a:lnTo>
                <a:lnTo>
                  <a:pt x="294" y="246"/>
                </a:lnTo>
                <a:lnTo>
                  <a:pt x="294" y="254"/>
                </a:lnTo>
                <a:lnTo>
                  <a:pt x="298" y="263"/>
                </a:lnTo>
                <a:lnTo>
                  <a:pt x="305" y="259"/>
                </a:lnTo>
                <a:lnTo>
                  <a:pt x="309" y="257"/>
                </a:lnTo>
                <a:lnTo>
                  <a:pt x="313" y="254"/>
                </a:lnTo>
                <a:lnTo>
                  <a:pt x="321" y="250"/>
                </a:lnTo>
                <a:lnTo>
                  <a:pt x="328" y="254"/>
                </a:lnTo>
                <a:lnTo>
                  <a:pt x="340" y="259"/>
                </a:lnTo>
                <a:lnTo>
                  <a:pt x="361" y="282"/>
                </a:lnTo>
                <a:lnTo>
                  <a:pt x="380" y="307"/>
                </a:lnTo>
                <a:lnTo>
                  <a:pt x="388" y="317"/>
                </a:lnTo>
                <a:lnTo>
                  <a:pt x="392" y="325"/>
                </a:lnTo>
                <a:lnTo>
                  <a:pt x="388" y="328"/>
                </a:lnTo>
                <a:lnTo>
                  <a:pt x="384" y="336"/>
                </a:lnTo>
                <a:lnTo>
                  <a:pt x="373" y="340"/>
                </a:lnTo>
                <a:lnTo>
                  <a:pt x="346" y="344"/>
                </a:lnTo>
                <a:lnTo>
                  <a:pt x="342" y="361"/>
                </a:lnTo>
                <a:lnTo>
                  <a:pt x="332" y="390"/>
                </a:lnTo>
                <a:lnTo>
                  <a:pt x="317" y="415"/>
                </a:lnTo>
                <a:lnTo>
                  <a:pt x="313" y="422"/>
                </a:lnTo>
                <a:lnTo>
                  <a:pt x="305" y="426"/>
                </a:lnTo>
                <a:lnTo>
                  <a:pt x="298" y="422"/>
                </a:lnTo>
                <a:lnTo>
                  <a:pt x="294" y="419"/>
                </a:lnTo>
                <a:lnTo>
                  <a:pt x="294" y="407"/>
                </a:lnTo>
                <a:lnTo>
                  <a:pt x="290" y="430"/>
                </a:lnTo>
                <a:lnTo>
                  <a:pt x="282" y="447"/>
                </a:lnTo>
                <a:lnTo>
                  <a:pt x="290" y="463"/>
                </a:lnTo>
                <a:lnTo>
                  <a:pt x="294" y="480"/>
                </a:lnTo>
                <a:lnTo>
                  <a:pt x="294" y="505"/>
                </a:lnTo>
                <a:lnTo>
                  <a:pt x="275" y="505"/>
                </a:lnTo>
                <a:lnTo>
                  <a:pt x="267" y="497"/>
                </a:lnTo>
                <a:lnTo>
                  <a:pt x="255" y="495"/>
                </a:lnTo>
                <a:lnTo>
                  <a:pt x="238" y="495"/>
                </a:lnTo>
                <a:lnTo>
                  <a:pt x="238" y="509"/>
                </a:lnTo>
                <a:lnTo>
                  <a:pt x="240" y="517"/>
                </a:lnTo>
                <a:lnTo>
                  <a:pt x="204" y="517"/>
                </a:lnTo>
                <a:lnTo>
                  <a:pt x="184" y="513"/>
                </a:lnTo>
                <a:lnTo>
                  <a:pt x="165" y="505"/>
                </a:lnTo>
                <a:lnTo>
                  <a:pt x="150" y="495"/>
                </a:lnTo>
                <a:lnTo>
                  <a:pt x="146" y="488"/>
                </a:lnTo>
                <a:lnTo>
                  <a:pt x="142" y="480"/>
                </a:lnTo>
                <a:lnTo>
                  <a:pt x="146" y="472"/>
                </a:lnTo>
                <a:lnTo>
                  <a:pt x="150" y="469"/>
                </a:lnTo>
                <a:lnTo>
                  <a:pt x="161" y="467"/>
                </a:lnTo>
                <a:lnTo>
                  <a:pt x="138" y="451"/>
                </a:lnTo>
                <a:lnTo>
                  <a:pt x="121" y="436"/>
                </a:lnTo>
                <a:lnTo>
                  <a:pt x="106" y="419"/>
                </a:lnTo>
                <a:lnTo>
                  <a:pt x="102" y="407"/>
                </a:lnTo>
                <a:lnTo>
                  <a:pt x="102" y="394"/>
                </a:lnTo>
                <a:lnTo>
                  <a:pt x="102" y="386"/>
                </a:lnTo>
                <a:lnTo>
                  <a:pt x="110" y="378"/>
                </a:lnTo>
                <a:lnTo>
                  <a:pt x="133" y="369"/>
                </a:lnTo>
                <a:lnTo>
                  <a:pt x="154" y="361"/>
                </a:lnTo>
                <a:lnTo>
                  <a:pt x="173" y="353"/>
                </a:lnTo>
                <a:lnTo>
                  <a:pt x="158" y="350"/>
                </a:lnTo>
                <a:lnTo>
                  <a:pt x="142" y="350"/>
                </a:lnTo>
                <a:lnTo>
                  <a:pt x="142" y="332"/>
                </a:lnTo>
                <a:lnTo>
                  <a:pt x="136" y="328"/>
                </a:lnTo>
                <a:lnTo>
                  <a:pt x="129" y="321"/>
                </a:lnTo>
                <a:lnTo>
                  <a:pt x="117" y="332"/>
                </a:lnTo>
                <a:lnTo>
                  <a:pt x="106" y="346"/>
                </a:lnTo>
                <a:lnTo>
                  <a:pt x="94" y="357"/>
                </a:lnTo>
                <a:lnTo>
                  <a:pt x="87" y="361"/>
                </a:lnTo>
                <a:lnTo>
                  <a:pt x="75" y="365"/>
                </a:lnTo>
                <a:lnTo>
                  <a:pt x="64" y="357"/>
                </a:lnTo>
                <a:lnTo>
                  <a:pt x="52" y="346"/>
                </a:lnTo>
                <a:lnTo>
                  <a:pt x="41" y="332"/>
                </a:lnTo>
                <a:lnTo>
                  <a:pt x="37" y="321"/>
                </a:lnTo>
                <a:lnTo>
                  <a:pt x="41" y="311"/>
                </a:lnTo>
                <a:lnTo>
                  <a:pt x="48" y="303"/>
                </a:lnTo>
                <a:lnTo>
                  <a:pt x="67" y="292"/>
                </a:lnTo>
                <a:lnTo>
                  <a:pt x="56" y="288"/>
                </a:lnTo>
                <a:lnTo>
                  <a:pt x="48" y="288"/>
                </a:lnTo>
                <a:lnTo>
                  <a:pt x="31" y="288"/>
                </a:lnTo>
                <a:lnTo>
                  <a:pt x="23" y="286"/>
                </a:lnTo>
                <a:lnTo>
                  <a:pt x="19" y="275"/>
                </a:lnTo>
                <a:lnTo>
                  <a:pt x="12" y="250"/>
                </a:lnTo>
                <a:lnTo>
                  <a:pt x="12" y="242"/>
                </a:lnTo>
                <a:lnTo>
                  <a:pt x="8" y="238"/>
                </a:lnTo>
                <a:lnTo>
                  <a:pt x="0" y="227"/>
                </a:lnTo>
                <a:lnTo>
                  <a:pt x="0" y="213"/>
                </a:lnTo>
                <a:lnTo>
                  <a:pt x="16" y="213"/>
                </a:lnTo>
                <a:lnTo>
                  <a:pt x="27" y="225"/>
                </a:lnTo>
                <a:lnTo>
                  <a:pt x="37" y="227"/>
                </a:lnTo>
                <a:lnTo>
                  <a:pt x="37" y="206"/>
                </a:lnTo>
                <a:lnTo>
                  <a:pt x="23" y="202"/>
                </a:lnTo>
                <a:lnTo>
                  <a:pt x="16" y="198"/>
                </a:lnTo>
                <a:lnTo>
                  <a:pt x="8" y="192"/>
                </a:lnTo>
                <a:lnTo>
                  <a:pt x="0" y="184"/>
                </a:lnTo>
                <a:lnTo>
                  <a:pt x="12" y="177"/>
                </a:lnTo>
                <a:lnTo>
                  <a:pt x="27" y="169"/>
                </a:lnTo>
                <a:lnTo>
                  <a:pt x="23" y="159"/>
                </a:lnTo>
                <a:lnTo>
                  <a:pt x="19" y="152"/>
                </a:lnTo>
                <a:lnTo>
                  <a:pt x="12" y="144"/>
                </a:lnTo>
                <a:lnTo>
                  <a:pt x="19" y="136"/>
                </a:lnTo>
                <a:lnTo>
                  <a:pt x="27" y="135"/>
                </a:lnTo>
                <a:lnTo>
                  <a:pt x="27" y="119"/>
                </a:lnTo>
                <a:lnTo>
                  <a:pt x="31" y="115"/>
                </a:lnTo>
                <a:lnTo>
                  <a:pt x="37" y="112"/>
                </a:lnTo>
                <a:lnTo>
                  <a:pt x="41" y="102"/>
                </a:lnTo>
                <a:lnTo>
                  <a:pt x="31" y="94"/>
                </a:lnTo>
                <a:lnTo>
                  <a:pt x="27" y="87"/>
                </a:lnTo>
                <a:lnTo>
                  <a:pt x="27" y="83"/>
                </a:lnTo>
                <a:lnTo>
                  <a:pt x="31" y="69"/>
                </a:lnTo>
                <a:lnTo>
                  <a:pt x="33" y="62"/>
                </a:lnTo>
                <a:lnTo>
                  <a:pt x="41" y="54"/>
                </a:lnTo>
                <a:lnTo>
                  <a:pt x="56" y="48"/>
                </a:lnTo>
                <a:lnTo>
                  <a:pt x="75" y="40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46" name="Freeform 492"/>
          <p:cNvSpPr>
            <a:spLocks/>
          </p:cNvSpPr>
          <p:nvPr/>
        </p:nvSpPr>
        <p:spPr bwMode="gray">
          <a:xfrm>
            <a:off x="5524689" y="2321339"/>
            <a:ext cx="256053" cy="486338"/>
          </a:xfrm>
          <a:custGeom>
            <a:avLst/>
            <a:gdLst>
              <a:gd name="T0" fmla="*/ 150 w 664"/>
              <a:gd name="T1" fmla="*/ 248 h 1249"/>
              <a:gd name="T2" fmla="*/ 145 w 664"/>
              <a:gd name="T3" fmla="*/ 259 h 1249"/>
              <a:gd name="T4" fmla="*/ 160 w 664"/>
              <a:gd name="T5" fmla="*/ 265 h 1249"/>
              <a:gd name="T6" fmla="*/ 163 w 664"/>
              <a:gd name="T7" fmla="*/ 282 h 1249"/>
              <a:gd name="T8" fmla="*/ 143 w 664"/>
              <a:gd name="T9" fmla="*/ 305 h 1249"/>
              <a:gd name="T10" fmla="*/ 136 w 664"/>
              <a:gd name="T11" fmla="*/ 292 h 1249"/>
              <a:gd name="T12" fmla="*/ 129 w 664"/>
              <a:gd name="T13" fmla="*/ 298 h 1249"/>
              <a:gd name="T14" fmla="*/ 110 w 664"/>
              <a:gd name="T15" fmla="*/ 302 h 1249"/>
              <a:gd name="T16" fmla="*/ 87 w 664"/>
              <a:gd name="T17" fmla="*/ 309 h 1249"/>
              <a:gd name="T18" fmla="*/ 58 w 664"/>
              <a:gd name="T19" fmla="*/ 311 h 1249"/>
              <a:gd name="T20" fmla="*/ 46 w 664"/>
              <a:gd name="T21" fmla="*/ 299 h 1249"/>
              <a:gd name="T22" fmla="*/ 62 w 664"/>
              <a:gd name="T23" fmla="*/ 284 h 1249"/>
              <a:gd name="T24" fmla="*/ 73 w 664"/>
              <a:gd name="T25" fmla="*/ 274 h 1249"/>
              <a:gd name="T26" fmla="*/ 58 w 664"/>
              <a:gd name="T27" fmla="*/ 260 h 1249"/>
              <a:gd name="T28" fmla="*/ 75 w 664"/>
              <a:gd name="T29" fmla="*/ 253 h 1249"/>
              <a:gd name="T30" fmla="*/ 92 w 664"/>
              <a:gd name="T31" fmla="*/ 266 h 1249"/>
              <a:gd name="T32" fmla="*/ 86 w 664"/>
              <a:gd name="T33" fmla="*/ 255 h 1249"/>
              <a:gd name="T34" fmla="*/ 86 w 664"/>
              <a:gd name="T35" fmla="*/ 243 h 1249"/>
              <a:gd name="T36" fmla="*/ 71 w 664"/>
              <a:gd name="T37" fmla="*/ 239 h 1249"/>
              <a:gd name="T38" fmla="*/ 59 w 664"/>
              <a:gd name="T39" fmla="*/ 233 h 1249"/>
              <a:gd name="T40" fmla="*/ 69 w 664"/>
              <a:gd name="T41" fmla="*/ 210 h 1249"/>
              <a:gd name="T42" fmla="*/ 89 w 664"/>
              <a:gd name="T43" fmla="*/ 199 h 1249"/>
              <a:gd name="T44" fmla="*/ 80 w 664"/>
              <a:gd name="T45" fmla="*/ 193 h 1249"/>
              <a:gd name="T46" fmla="*/ 66 w 664"/>
              <a:gd name="T47" fmla="*/ 177 h 1249"/>
              <a:gd name="T48" fmla="*/ 54 w 664"/>
              <a:gd name="T49" fmla="*/ 163 h 1249"/>
              <a:gd name="T50" fmla="*/ 47 w 664"/>
              <a:gd name="T51" fmla="*/ 151 h 1249"/>
              <a:gd name="T52" fmla="*/ 73 w 664"/>
              <a:gd name="T53" fmla="*/ 156 h 1249"/>
              <a:gd name="T54" fmla="*/ 73 w 664"/>
              <a:gd name="T55" fmla="*/ 150 h 1249"/>
              <a:gd name="T56" fmla="*/ 81 w 664"/>
              <a:gd name="T57" fmla="*/ 140 h 1249"/>
              <a:gd name="T58" fmla="*/ 87 w 664"/>
              <a:gd name="T59" fmla="*/ 125 h 1249"/>
              <a:gd name="T60" fmla="*/ 81 w 664"/>
              <a:gd name="T61" fmla="*/ 116 h 1249"/>
              <a:gd name="T62" fmla="*/ 70 w 664"/>
              <a:gd name="T63" fmla="*/ 137 h 1249"/>
              <a:gd name="T64" fmla="*/ 42 w 664"/>
              <a:gd name="T65" fmla="*/ 138 h 1249"/>
              <a:gd name="T66" fmla="*/ 35 w 664"/>
              <a:gd name="T67" fmla="*/ 139 h 1249"/>
              <a:gd name="T68" fmla="*/ 21 w 664"/>
              <a:gd name="T69" fmla="*/ 129 h 1249"/>
              <a:gd name="T70" fmla="*/ 14 w 664"/>
              <a:gd name="T71" fmla="*/ 117 h 1249"/>
              <a:gd name="T72" fmla="*/ 1 w 664"/>
              <a:gd name="T73" fmla="*/ 107 h 1249"/>
              <a:gd name="T74" fmla="*/ 10 w 664"/>
              <a:gd name="T75" fmla="*/ 91 h 1249"/>
              <a:gd name="T76" fmla="*/ 29 w 664"/>
              <a:gd name="T77" fmla="*/ 72 h 1249"/>
              <a:gd name="T78" fmla="*/ 45 w 664"/>
              <a:gd name="T79" fmla="*/ 63 h 1249"/>
              <a:gd name="T80" fmla="*/ 63 w 664"/>
              <a:gd name="T81" fmla="*/ 31 h 1249"/>
              <a:gd name="T82" fmla="*/ 87 w 664"/>
              <a:gd name="T83" fmla="*/ 19 h 1249"/>
              <a:gd name="T84" fmla="*/ 106 w 664"/>
              <a:gd name="T85" fmla="*/ 9 h 1249"/>
              <a:gd name="T86" fmla="*/ 125 w 664"/>
              <a:gd name="T87" fmla="*/ 5 h 1249"/>
              <a:gd name="T88" fmla="*/ 139 w 664"/>
              <a:gd name="T89" fmla="*/ 7 h 1249"/>
              <a:gd name="T90" fmla="*/ 155 w 664"/>
              <a:gd name="T91" fmla="*/ 9 h 1249"/>
              <a:gd name="T92" fmla="*/ 157 w 664"/>
              <a:gd name="T93" fmla="*/ 36 h 1249"/>
              <a:gd name="T94" fmla="*/ 148 w 664"/>
              <a:gd name="T95" fmla="*/ 54 h 1249"/>
              <a:gd name="T96" fmla="*/ 166 w 664"/>
              <a:gd name="T97" fmla="*/ 35 h 1249"/>
              <a:gd name="T98" fmla="*/ 160 w 664"/>
              <a:gd name="T99" fmla="*/ 73 h 1249"/>
              <a:gd name="T100" fmla="*/ 162 w 664"/>
              <a:gd name="T101" fmla="*/ 117 h 1249"/>
              <a:gd name="T102" fmla="*/ 162 w 664"/>
              <a:gd name="T103" fmla="*/ 126 h 1249"/>
              <a:gd name="T104" fmla="*/ 153 w 664"/>
              <a:gd name="T105" fmla="*/ 148 h 1249"/>
              <a:gd name="T106" fmla="*/ 138 w 664"/>
              <a:gd name="T107" fmla="*/ 162 h 1249"/>
              <a:gd name="T108" fmla="*/ 149 w 664"/>
              <a:gd name="T109" fmla="*/ 171 h 1249"/>
              <a:gd name="T110" fmla="*/ 164 w 664"/>
              <a:gd name="T111" fmla="*/ 201 h 1249"/>
              <a:gd name="T112" fmla="*/ 156 w 664"/>
              <a:gd name="T113" fmla="*/ 215 h 1249"/>
              <a:gd name="T114" fmla="*/ 145 w 664"/>
              <a:gd name="T115" fmla="*/ 231 h 1249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664"/>
              <a:gd name="T175" fmla="*/ 0 h 1249"/>
              <a:gd name="T176" fmla="*/ 664 w 664"/>
              <a:gd name="T177" fmla="*/ 1249 h 1249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664" h="1249">
                <a:moveTo>
                  <a:pt x="591" y="933"/>
                </a:moveTo>
                <a:lnTo>
                  <a:pt x="599" y="944"/>
                </a:lnTo>
                <a:lnTo>
                  <a:pt x="603" y="952"/>
                </a:lnTo>
                <a:lnTo>
                  <a:pt x="607" y="957"/>
                </a:lnTo>
                <a:lnTo>
                  <a:pt x="603" y="977"/>
                </a:lnTo>
                <a:lnTo>
                  <a:pt x="599" y="990"/>
                </a:lnTo>
                <a:lnTo>
                  <a:pt x="591" y="998"/>
                </a:lnTo>
                <a:lnTo>
                  <a:pt x="580" y="1005"/>
                </a:lnTo>
                <a:lnTo>
                  <a:pt x="555" y="1017"/>
                </a:lnTo>
                <a:lnTo>
                  <a:pt x="528" y="1027"/>
                </a:lnTo>
                <a:lnTo>
                  <a:pt x="562" y="1034"/>
                </a:lnTo>
                <a:lnTo>
                  <a:pt x="578" y="1034"/>
                </a:lnTo>
                <a:lnTo>
                  <a:pt x="591" y="1027"/>
                </a:lnTo>
                <a:lnTo>
                  <a:pt x="595" y="1046"/>
                </a:lnTo>
                <a:lnTo>
                  <a:pt x="603" y="1052"/>
                </a:lnTo>
                <a:lnTo>
                  <a:pt x="614" y="1055"/>
                </a:lnTo>
                <a:lnTo>
                  <a:pt x="634" y="1059"/>
                </a:lnTo>
                <a:lnTo>
                  <a:pt x="637" y="1059"/>
                </a:lnTo>
                <a:lnTo>
                  <a:pt x="641" y="1063"/>
                </a:lnTo>
                <a:lnTo>
                  <a:pt x="649" y="1071"/>
                </a:lnTo>
                <a:lnTo>
                  <a:pt x="657" y="1084"/>
                </a:lnTo>
                <a:lnTo>
                  <a:pt x="657" y="1092"/>
                </a:lnTo>
                <a:lnTo>
                  <a:pt x="653" y="1105"/>
                </a:lnTo>
                <a:lnTo>
                  <a:pt x="649" y="1128"/>
                </a:lnTo>
                <a:lnTo>
                  <a:pt x="626" y="1171"/>
                </a:lnTo>
                <a:lnTo>
                  <a:pt x="614" y="1190"/>
                </a:lnTo>
                <a:lnTo>
                  <a:pt x="599" y="1203"/>
                </a:lnTo>
                <a:lnTo>
                  <a:pt x="587" y="1215"/>
                </a:lnTo>
                <a:lnTo>
                  <a:pt x="574" y="1220"/>
                </a:lnTo>
                <a:lnTo>
                  <a:pt x="570" y="1219"/>
                </a:lnTo>
                <a:lnTo>
                  <a:pt x="566" y="1211"/>
                </a:lnTo>
                <a:lnTo>
                  <a:pt x="566" y="1192"/>
                </a:lnTo>
                <a:lnTo>
                  <a:pt x="562" y="1174"/>
                </a:lnTo>
                <a:lnTo>
                  <a:pt x="559" y="1167"/>
                </a:lnTo>
                <a:lnTo>
                  <a:pt x="551" y="1163"/>
                </a:lnTo>
                <a:lnTo>
                  <a:pt x="543" y="1167"/>
                </a:lnTo>
                <a:lnTo>
                  <a:pt x="536" y="1171"/>
                </a:lnTo>
                <a:lnTo>
                  <a:pt x="532" y="1171"/>
                </a:lnTo>
                <a:lnTo>
                  <a:pt x="516" y="1171"/>
                </a:lnTo>
                <a:lnTo>
                  <a:pt x="520" y="1174"/>
                </a:lnTo>
                <a:lnTo>
                  <a:pt x="520" y="1178"/>
                </a:lnTo>
                <a:lnTo>
                  <a:pt x="516" y="1190"/>
                </a:lnTo>
                <a:lnTo>
                  <a:pt x="509" y="1192"/>
                </a:lnTo>
                <a:lnTo>
                  <a:pt x="505" y="1192"/>
                </a:lnTo>
                <a:lnTo>
                  <a:pt x="493" y="1190"/>
                </a:lnTo>
                <a:lnTo>
                  <a:pt x="478" y="1195"/>
                </a:lnTo>
                <a:lnTo>
                  <a:pt x="461" y="1203"/>
                </a:lnTo>
                <a:lnTo>
                  <a:pt x="442" y="1207"/>
                </a:lnTo>
                <a:lnTo>
                  <a:pt x="426" y="1215"/>
                </a:lnTo>
                <a:lnTo>
                  <a:pt x="426" y="1228"/>
                </a:lnTo>
                <a:lnTo>
                  <a:pt x="411" y="1232"/>
                </a:lnTo>
                <a:lnTo>
                  <a:pt x="399" y="1232"/>
                </a:lnTo>
                <a:lnTo>
                  <a:pt x="376" y="1228"/>
                </a:lnTo>
                <a:lnTo>
                  <a:pt x="351" y="1236"/>
                </a:lnTo>
                <a:lnTo>
                  <a:pt x="328" y="1243"/>
                </a:lnTo>
                <a:lnTo>
                  <a:pt x="298" y="1243"/>
                </a:lnTo>
                <a:lnTo>
                  <a:pt x="290" y="1249"/>
                </a:lnTo>
                <a:lnTo>
                  <a:pt x="278" y="1247"/>
                </a:lnTo>
                <a:lnTo>
                  <a:pt x="259" y="1243"/>
                </a:lnTo>
                <a:lnTo>
                  <a:pt x="234" y="1243"/>
                </a:lnTo>
                <a:lnTo>
                  <a:pt x="211" y="1236"/>
                </a:lnTo>
                <a:lnTo>
                  <a:pt x="200" y="1232"/>
                </a:lnTo>
                <a:lnTo>
                  <a:pt x="188" y="1224"/>
                </a:lnTo>
                <a:lnTo>
                  <a:pt x="184" y="1215"/>
                </a:lnTo>
                <a:lnTo>
                  <a:pt x="181" y="1203"/>
                </a:lnTo>
                <a:lnTo>
                  <a:pt x="184" y="1195"/>
                </a:lnTo>
                <a:lnTo>
                  <a:pt x="192" y="1195"/>
                </a:lnTo>
                <a:lnTo>
                  <a:pt x="204" y="1195"/>
                </a:lnTo>
                <a:lnTo>
                  <a:pt x="215" y="1186"/>
                </a:lnTo>
                <a:lnTo>
                  <a:pt x="227" y="1171"/>
                </a:lnTo>
                <a:lnTo>
                  <a:pt x="242" y="1138"/>
                </a:lnTo>
                <a:lnTo>
                  <a:pt x="250" y="1134"/>
                </a:lnTo>
                <a:lnTo>
                  <a:pt x="255" y="1132"/>
                </a:lnTo>
                <a:lnTo>
                  <a:pt x="271" y="1124"/>
                </a:lnTo>
                <a:lnTo>
                  <a:pt x="290" y="1121"/>
                </a:lnTo>
                <a:lnTo>
                  <a:pt x="301" y="1113"/>
                </a:lnTo>
                <a:lnTo>
                  <a:pt x="294" y="1105"/>
                </a:lnTo>
                <a:lnTo>
                  <a:pt x="290" y="1096"/>
                </a:lnTo>
                <a:lnTo>
                  <a:pt x="282" y="1092"/>
                </a:lnTo>
                <a:lnTo>
                  <a:pt x="271" y="1088"/>
                </a:lnTo>
                <a:lnTo>
                  <a:pt x="253" y="1071"/>
                </a:lnTo>
                <a:lnTo>
                  <a:pt x="238" y="1052"/>
                </a:lnTo>
                <a:lnTo>
                  <a:pt x="234" y="1046"/>
                </a:lnTo>
                <a:lnTo>
                  <a:pt x="234" y="1038"/>
                </a:lnTo>
                <a:lnTo>
                  <a:pt x="238" y="1019"/>
                </a:lnTo>
                <a:lnTo>
                  <a:pt x="246" y="1009"/>
                </a:lnTo>
                <a:lnTo>
                  <a:pt x="259" y="1002"/>
                </a:lnTo>
                <a:lnTo>
                  <a:pt x="275" y="998"/>
                </a:lnTo>
                <a:lnTo>
                  <a:pt x="286" y="998"/>
                </a:lnTo>
                <a:lnTo>
                  <a:pt x="298" y="1009"/>
                </a:lnTo>
                <a:lnTo>
                  <a:pt x="313" y="1030"/>
                </a:lnTo>
                <a:lnTo>
                  <a:pt x="321" y="1042"/>
                </a:lnTo>
                <a:lnTo>
                  <a:pt x="328" y="1052"/>
                </a:lnTo>
                <a:lnTo>
                  <a:pt x="340" y="1063"/>
                </a:lnTo>
                <a:lnTo>
                  <a:pt x="355" y="1063"/>
                </a:lnTo>
                <a:lnTo>
                  <a:pt x="369" y="1063"/>
                </a:lnTo>
                <a:lnTo>
                  <a:pt x="380" y="1052"/>
                </a:lnTo>
                <a:lnTo>
                  <a:pt x="388" y="1046"/>
                </a:lnTo>
                <a:lnTo>
                  <a:pt x="396" y="1034"/>
                </a:lnTo>
                <a:lnTo>
                  <a:pt x="363" y="1034"/>
                </a:lnTo>
                <a:lnTo>
                  <a:pt x="355" y="1027"/>
                </a:lnTo>
                <a:lnTo>
                  <a:pt x="344" y="1017"/>
                </a:lnTo>
                <a:lnTo>
                  <a:pt x="332" y="1009"/>
                </a:lnTo>
                <a:lnTo>
                  <a:pt x="328" y="998"/>
                </a:lnTo>
                <a:lnTo>
                  <a:pt x="332" y="990"/>
                </a:lnTo>
                <a:lnTo>
                  <a:pt x="336" y="984"/>
                </a:lnTo>
                <a:lnTo>
                  <a:pt x="340" y="977"/>
                </a:lnTo>
                <a:lnTo>
                  <a:pt x="344" y="969"/>
                </a:lnTo>
                <a:lnTo>
                  <a:pt x="328" y="933"/>
                </a:lnTo>
                <a:lnTo>
                  <a:pt x="313" y="898"/>
                </a:lnTo>
                <a:lnTo>
                  <a:pt x="301" y="919"/>
                </a:lnTo>
                <a:lnTo>
                  <a:pt x="294" y="940"/>
                </a:lnTo>
                <a:lnTo>
                  <a:pt x="290" y="948"/>
                </a:lnTo>
                <a:lnTo>
                  <a:pt x="282" y="956"/>
                </a:lnTo>
                <a:lnTo>
                  <a:pt x="271" y="961"/>
                </a:lnTo>
                <a:lnTo>
                  <a:pt x="259" y="961"/>
                </a:lnTo>
                <a:lnTo>
                  <a:pt x="250" y="957"/>
                </a:lnTo>
                <a:lnTo>
                  <a:pt x="242" y="952"/>
                </a:lnTo>
                <a:lnTo>
                  <a:pt x="242" y="940"/>
                </a:lnTo>
                <a:lnTo>
                  <a:pt x="238" y="929"/>
                </a:lnTo>
                <a:lnTo>
                  <a:pt x="242" y="908"/>
                </a:lnTo>
                <a:lnTo>
                  <a:pt x="246" y="890"/>
                </a:lnTo>
                <a:lnTo>
                  <a:pt x="250" y="871"/>
                </a:lnTo>
                <a:lnTo>
                  <a:pt x="255" y="862"/>
                </a:lnTo>
                <a:lnTo>
                  <a:pt x="263" y="850"/>
                </a:lnTo>
                <a:lnTo>
                  <a:pt x="275" y="840"/>
                </a:lnTo>
                <a:lnTo>
                  <a:pt x="301" y="821"/>
                </a:lnTo>
                <a:lnTo>
                  <a:pt x="376" y="821"/>
                </a:lnTo>
                <a:lnTo>
                  <a:pt x="376" y="812"/>
                </a:lnTo>
                <a:lnTo>
                  <a:pt x="376" y="800"/>
                </a:lnTo>
                <a:lnTo>
                  <a:pt x="369" y="796"/>
                </a:lnTo>
                <a:lnTo>
                  <a:pt x="359" y="796"/>
                </a:lnTo>
                <a:lnTo>
                  <a:pt x="324" y="800"/>
                </a:lnTo>
                <a:lnTo>
                  <a:pt x="313" y="800"/>
                </a:lnTo>
                <a:lnTo>
                  <a:pt x="305" y="796"/>
                </a:lnTo>
                <a:lnTo>
                  <a:pt x="305" y="785"/>
                </a:lnTo>
                <a:lnTo>
                  <a:pt x="309" y="783"/>
                </a:lnTo>
                <a:lnTo>
                  <a:pt x="317" y="771"/>
                </a:lnTo>
                <a:lnTo>
                  <a:pt x="305" y="760"/>
                </a:lnTo>
                <a:lnTo>
                  <a:pt x="298" y="746"/>
                </a:lnTo>
                <a:lnTo>
                  <a:pt x="290" y="735"/>
                </a:lnTo>
                <a:lnTo>
                  <a:pt x="282" y="721"/>
                </a:lnTo>
                <a:lnTo>
                  <a:pt x="275" y="714"/>
                </a:lnTo>
                <a:lnTo>
                  <a:pt x="263" y="706"/>
                </a:lnTo>
                <a:lnTo>
                  <a:pt x="246" y="698"/>
                </a:lnTo>
                <a:lnTo>
                  <a:pt x="227" y="689"/>
                </a:lnTo>
                <a:lnTo>
                  <a:pt x="215" y="681"/>
                </a:lnTo>
                <a:lnTo>
                  <a:pt x="207" y="670"/>
                </a:lnTo>
                <a:lnTo>
                  <a:pt x="230" y="664"/>
                </a:lnTo>
                <a:lnTo>
                  <a:pt x="219" y="652"/>
                </a:lnTo>
                <a:lnTo>
                  <a:pt x="204" y="641"/>
                </a:lnTo>
                <a:lnTo>
                  <a:pt x="196" y="639"/>
                </a:lnTo>
                <a:lnTo>
                  <a:pt x="192" y="631"/>
                </a:lnTo>
                <a:lnTo>
                  <a:pt x="188" y="620"/>
                </a:lnTo>
                <a:lnTo>
                  <a:pt x="188" y="608"/>
                </a:lnTo>
                <a:lnTo>
                  <a:pt x="188" y="602"/>
                </a:lnTo>
                <a:lnTo>
                  <a:pt x="192" y="599"/>
                </a:lnTo>
                <a:lnTo>
                  <a:pt x="204" y="591"/>
                </a:lnTo>
                <a:lnTo>
                  <a:pt x="230" y="591"/>
                </a:lnTo>
                <a:lnTo>
                  <a:pt x="250" y="595"/>
                </a:lnTo>
                <a:lnTo>
                  <a:pt x="263" y="602"/>
                </a:lnTo>
                <a:lnTo>
                  <a:pt x="290" y="623"/>
                </a:lnTo>
                <a:lnTo>
                  <a:pt x="317" y="641"/>
                </a:lnTo>
                <a:lnTo>
                  <a:pt x="328" y="645"/>
                </a:lnTo>
                <a:lnTo>
                  <a:pt x="336" y="645"/>
                </a:lnTo>
                <a:lnTo>
                  <a:pt x="321" y="627"/>
                </a:lnTo>
                <a:lnTo>
                  <a:pt x="301" y="612"/>
                </a:lnTo>
                <a:lnTo>
                  <a:pt x="290" y="599"/>
                </a:lnTo>
                <a:lnTo>
                  <a:pt x="286" y="587"/>
                </a:lnTo>
                <a:lnTo>
                  <a:pt x="282" y="577"/>
                </a:lnTo>
                <a:lnTo>
                  <a:pt x="286" y="570"/>
                </a:lnTo>
                <a:lnTo>
                  <a:pt x="294" y="570"/>
                </a:lnTo>
                <a:lnTo>
                  <a:pt x="309" y="566"/>
                </a:lnTo>
                <a:lnTo>
                  <a:pt x="321" y="558"/>
                </a:lnTo>
                <a:lnTo>
                  <a:pt x="328" y="551"/>
                </a:lnTo>
                <a:lnTo>
                  <a:pt x="336" y="537"/>
                </a:lnTo>
                <a:lnTo>
                  <a:pt x="348" y="520"/>
                </a:lnTo>
                <a:lnTo>
                  <a:pt x="351" y="512"/>
                </a:lnTo>
                <a:lnTo>
                  <a:pt x="363" y="508"/>
                </a:lnTo>
                <a:lnTo>
                  <a:pt x="351" y="497"/>
                </a:lnTo>
                <a:lnTo>
                  <a:pt x="344" y="483"/>
                </a:lnTo>
                <a:lnTo>
                  <a:pt x="344" y="464"/>
                </a:lnTo>
                <a:lnTo>
                  <a:pt x="344" y="447"/>
                </a:lnTo>
                <a:lnTo>
                  <a:pt x="332" y="451"/>
                </a:lnTo>
                <a:lnTo>
                  <a:pt x="324" y="455"/>
                </a:lnTo>
                <a:lnTo>
                  <a:pt x="321" y="464"/>
                </a:lnTo>
                <a:lnTo>
                  <a:pt x="317" y="472"/>
                </a:lnTo>
                <a:lnTo>
                  <a:pt x="313" y="493"/>
                </a:lnTo>
                <a:lnTo>
                  <a:pt x="309" y="512"/>
                </a:lnTo>
                <a:lnTo>
                  <a:pt x="301" y="526"/>
                </a:lnTo>
                <a:lnTo>
                  <a:pt x="294" y="533"/>
                </a:lnTo>
                <a:lnTo>
                  <a:pt x="278" y="545"/>
                </a:lnTo>
                <a:lnTo>
                  <a:pt x="263" y="551"/>
                </a:lnTo>
                <a:lnTo>
                  <a:pt x="227" y="558"/>
                </a:lnTo>
                <a:lnTo>
                  <a:pt x="188" y="562"/>
                </a:lnTo>
                <a:lnTo>
                  <a:pt x="177" y="558"/>
                </a:lnTo>
                <a:lnTo>
                  <a:pt x="173" y="554"/>
                </a:lnTo>
                <a:lnTo>
                  <a:pt x="169" y="551"/>
                </a:lnTo>
                <a:lnTo>
                  <a:pt x="177" y="522"/>
                </a:lnTo>
                <a:lnTo>
                  <a:pt x="165" y="529"/>
                </a:lnTo>
                <a:lnTo>
                  <a:pt x="157" y="541"/>
                </a:lnTo>
                <a:lnTo>
                  <a:pt x="150" y="551"/>
                </a:lnTo>
                <a:lnTo>
                  <a:pt x="148" y="554"/>
                </a:lnTo>
                <a:lnTo>
                  <a:pt x="140" y="554"/>
                </a:lnTo>
                <a:lnTo>
                  <a:pt x="121" y="551"/>
                </a:lnTo>
                <a:lnTo>
                  <a:pt x="106" y="545"/>
                </a:lnTo>
                <a:lnTo>
                  <a:pt x="90" y="533"/>
                </a:lnTo>
                <a:lnTo>
                  <a:pt x="79" y="526"/>
                </a:lnTo>
                <a:lnTo>
                  <a:pt x="83" y="522"/>
                </a:lnTo>
                <a:lnTo>
                  <a:pt x="86" y="516"/>
                </a:lnTo>
                <a:lnTo>
                  <a:pt x="94" y="508"/>
                </a:lnTo>
                <a:lnTo>
                  <a:pt x="71" y="508"/>
                </a:lnTo>
                <a:lnTo>
                  <a:pt x="63" y="504"/>
                </a:lnTo>
                <a:lnTo>
                  <a:pt x="60" y="497"/>
                </a:lnTo>
                <a:lnTo>
                  <a:pt x="60" y="483"/>
                </a:lnTo>
                <a:lnTo>
                  <a:pt x="56" y="468"/>
                </a:lnTo>
                <a:lnTo>
                  <a:pt x="48" y="458"/>
                </a:lnTo>
                <a:lnTo>
                  <a:pt x="44" y="447"/>
                </a:lnTo>
                <a:lnTo>
                  <a:pt x="40" y="433"/>
                </a:lnTo>
                <a:lnTo>
                  <a:pt x="27" y="430"/>
                </a:lnTo>
                <a:lnTo>
                  <a:pt x="15" y="430"/>
                </a:lnTo>
                <a:lnTo>
                  <a:pt x="4" y="426"/>
                </a:lnTo>
                <a:lnTo>
                  <a:pt x="0" y="422"/>
                </a:lnTo>
                <a:lnTo>
                  <a:pt x="0" y="414"/>
                </a:lnTo>
                <a:lnTo>
                  <a:pt x="0" y="401"/>
                </a:lnTo>
                <a:lnTo>
                  <a:pt x="12" y="385"/>
                </a:lnTo>
                <a:lnTo>
                  <a:pt x="23" y="376"/>
                </a:lnTo>
                <a:lnTo>
                  <a:pt x="40" y="361"/>
                </a:lnTo>
                <a:lnTo>
                  <a:pt x="75" y="343"/>
                </a:lnTo>
                <a:lnTo>
                  <a:pt x="106" y="324"/>
                </a:lnTo>
                <a:lnTo>
                  <a:pt x="110" y="320"/>
                </a:lnTo>
                <a:lnTo>
                  <a:pt x="113" y="314"/>
                </a:lnTo>
                <a:lnTo>
                  <a:pt x="117" y="299"/>
                </a:lnTo>
                <a:lnTo>
                  <a:pt x="117" y="286"/>
                </a:lnTo>
                <a:lnTo>
                  <a:pt x="125" y="270"/>
                </a:lnTo>
                <a:lnTo>
                  <a:pt x="133" y="266"/>
                </a:lnTo>
                <a:lnTo>
                  <a:pt x="140" y="263"/>
                </a:lnTo>
                <a:lnTo>
                  <a:pt x="161" y="257"/>
                </a:lnTo>
                <a:lnTo>
                  <a:pt x="169" y="253"/>
                </a:lnTo>
                <a:lnTo>
                  <a:pt x="181" y="249"/>
                </a:lnTo>
                <a:lnTo>
                  <a:pt x="184" y="238"/>
                </a:lnTo>
                <a:lnTo>
                  <a:pt x="188" y="224"/>
                </a:lnTo>
                <a:lnTo>
                  <a:pt x="188" y="184"/>
                </a:lnTo>
                <a:lnTo>
                  <a:pt x="200" y="171"/>
                </a:lnTo>
                <a:lnTo>
                  <a:pt x="215" y="151"/>
                </a:lnTo>
                <a:lnTo>
                  <a:pt x="255" y="123"/>
                </a:lnTo>
                <a:lnTo>
                  <a:pt x="275" y="109"/>
                </a:lnTo>
                <a:lnTo>
                  <a:pt x="298" y="98"/>
                </a:lnTo>
                <a:lnTo>
                  <a:pt x="321" y="94"/>
                </a:lnTo>
                <a:lnTo>
                  <a:pt x="332" y="90"/>
                </a:lnTo>
                <a:lnTo>
                  <a:pt x="344" y="86"/>
                </a:lnTo>
                <a:lnTo>
                  <a:pt x="351" y="76"/>
                </a:lnTo>
                <a:lnTo>
                  <a:pt x="359" y="65"/>
                </a:lnTo>
                <a:lnTo>
                  <a:pt x="363" y="52"/>
                </a:lnTo>
                <a:lnTo>
                  <a:pt x="372" y="40"/>
                </a:lnTo>
                <a:lnTo>
                  <a:pt x="396" y="40"/>
                </a:lnTo>
                <a:lnTo>
                  <a:pt x="411" y="36"/>
                </a:lnTo>
                <a:lnTo>
                  <a:pt x="426" y="36"/>
                </a:lnTo>
                <a:lnTo>
                  <a:pt x="434" y="28"/>
                </a:lnTo>
                <a:lnTo>
                  <a:pt x="445" y="27"/>
                </a:lnTo>
                <a:lnTo>
                  <a:pt x="457" y="23"/>
                </a:lnTo>
                <a:lnTo>
                  <a:pt x="474" y="23"/>
                </a:lnTo>
                <a:lnTo>
                  <a:pt x="490" y="23"/>
                </a:lnTo>
                <a:lnTo>
                  <a:pt x="501" y="19"/>
                </a:lnTo>
                <a:lnTo>
                  <a:pt x="509" y="11"/>
                </a:lnTo>
                <a:lnTo>
                  <a:pt x="516" y="0"/>
                </a:lnTo>
                <a:lnTo>
                  <a:pt x="528" y="7"/>
                </a:lnTo>
                <a:lnTo>
                  <a:pt x="539" y="15"/>
                </a:lnTo>
                <a:lnTo>
                  <a:pt x="547" y="27"/>
                </a:lnTo>
                <a:lnTo>
                  <a:pt x="555" y="28"/>
                </a:lnTo>
                <a:lnTo>
                  <a:pt x="566" y="32"/>
                </a:lnTo>
                <a:lnTo>
                  <a:pt x="578" y="28"/>
                </a:lnTo>
                <a:lnTo>
                  <a:pt x="587" y="27"/>
                </a:lnTo>
                <a:lnTo>
                  <a:pt x="599" y="27"/>
                </a:lnTo>
                <a:lnTo>
                  <a:pt x="607" y="28"/>
                </a:lnTo>
                <a:lnTo>
                  <a:pt x="618" y="36"/>
                </a:lnTo>
                <a:lnTo>
                  <a:pt x="622" y="48"/>
                </a:lnTo>
                <a:lnTo>
                  <a:pt x="630" y="57"/>
                </a:lnTo>
                <a:lnTo>
                  <a:pt x="634" y="84"/>
                </a:lnTo>
                <a:lnTo>
                  <a:pt x="637" y="105"/>
                </a:lnTo>
                <a:lnTo>
                  <a:pt x="634" y="126"/>
                </a:lnTo>
                <a:lnTo>
                  <a:pt x="626" y="142"/>
                </a:lnTo>
                <a:lnTo>
                  <a:pt x="618" y="155"/>
                </a:lnTo>
                <a:lnTo>
                  <a:pt x="607" y="167"/>
                </a:lnTo>
                <a:lnTo>
                  <a:pt x="587" y="192"/>
                </a:lnTo>
                <a:lnTo>
                  <a:pt x="584" y="201"/>
                </a:lnTo>
                <a:lnTo>
                  <a:pt x="580" y="220"/>
                </a:lnTo>
                <a:lnTo>
                  <a:pt x="591" y="213"/>
                </a:lnTo>
                <a:lnTo>
                  <a:pt x="603" y="201"/>
                </a:lnTo>
                <a:lnTo>
                  <a:pt x="622" y="172"/>
                </a:lnTo>
                <a:lnTo>
                  <a:pt x="630" y="159"/>
                </a:lnTo>
                <a:lnTo>
                  <a:pt x="637" y="147"/>
                </a:lnTo>
                <a:lnTo>
                  <a:pt x="649" y="138"/>
                </a:lnTo>
                <a:lnTo>
                  <a:pt x="664" y="138"/>
                </a:lnTo>
                <a:lnTo>
                  <a:pt x="664" y="144"/>
                </a:lnTo>
                <a:lnTo>
                  <a:pt x="660" y="155"/>
                </a:lnTo>
                <a:lnTo>
                  <a:pt x="657" y="163"/>
                </a:lnTo>
                <a:lnTo>
                  <a:pt x="653" y="209"/>
                </a:lnTo>
                <a:lnTo>
                  <a:pt x="645" y="249"/>
                </a:lnTo>
                <a:lnTo>
                  <a:pt x="637" y="291"/>
                </a:lnTo>
                <a:lnTo>
                  <a:pt x="634" y="339"/>
                </a:lnTo>
                <a:lnTo>
                  <a:pt x="634" y="389"/>
                </a:lnTo>
                <a:lnTo>
                  <a:pt x="634" y="410"/>
                </a:lnTo>
                <a:lnTo>
                  <a:pt x="637" y="430"/>
                </a:lnTo>
                <a:lnTo>
                  <a:pt x="641" y="451"/>
                </a:lnTo>
                <a:lnTo>
                  <a:pt x="645" y="468"/>
                </a:lnTo>
                <a:lnTo>
                  <a:pt x="641" y="476"/>
                </a:lnTo>
                <a:lnTo>
                  <a:pt x="637" y="483"/>
                </a:lnTo>
                <a:lnTo>
                  <a:pt x="634" y="487"/>
                </a:lnTo>
                <a:lnTo>
                  <a:pt x="634" y="493"/>
                </a:lnTo>
                <a:lnTo>
                  <a:pt x="637" y="501"/>
                </a:lnTo>
                <a:lnTo>
                  <a:pt x="645" y="504"/>
                </a:lnTo>
                <a:lnTo>
                  <a:pt x="641" y="520"/>
                </a:lnTo>
                <a:lnTo>
                  <a:pt x="634" y="526"/>
                </a:lnTo>
                <a:lnTo>
                  <a:pt x="626" y="537"/>
                </a:lnTo>
                <a:lnTo>
                  <a:pt x="618" y="551"/>
                </a:lnTo>
                <a:lnTo>
                  <a:pt x="610" y="577"/>
                </a:lnTo>
                <a:lnTo>
                  <a:pt x="610" y="591"/>
                </a:lnTo>
                <a:lnTo>
                  <a:pt x="603" y="602"/>
                </a:lnTo>
                <a:lnTo>
                  <a:pt x="599" y="608"/>
                </a:lnTo>
                <a:lnTo>
                  <a:pt x="587" y="616"/>
                </a:lnTo>
                <a:lnTo>
                  <a:pt x="574" y="627"/>
                </a:lnTo>
                <a:lnTo>
                  <a:pt x="555" y="641"/>
                </a:lnTo>
                <a:lnTo>
                  <a:pt x="551" y="648"/>
                </a:lnTo>
                <a:lnTo>
                  <a:pt x="551" y="660"/>
                </a:lnTo>
                <a:lnTo>
                  <a:pt x="551" y="664"/>
                </a:lnTo>
                <a:lnTo>
                  <a:pt x="555" y="664"/>
                </a:lnTo>
                <a:lnTo>
                  <a:pt x="566" y="664"/>
                </a:lnTo>
                <a:lnTo>
                  <a:pt x="595" y="660"/>
                </a:lnTo>
                <a:lnTo>
                  <a:pt x="595" y="681"/>
                </a:lnTo>
                <a:lnTo>
                  <a:pt x="603" y="702"/>
                </a:lnTo>
                <a:lnTo>
                  <a:pt x="610" y="721"/>
                </a:lnTo>
                <a:lnTo>
                  <a:pt x="622" y="735"/>
                </a:lnTo>
                <a:lnTo>
                  <a:pt x="641" y="764"/>
                </a:lnTo>
                <a:lnTo>
                  <a:pt x="649" y="783"/>
                </a:lnTo>
                <a:lnTo>
                  <a:pt x="653" y="804"/>
                </a:lnTo>
                <a:lnTo>
                  <a:pt x="649" y="817"/>
                </a:lnTo>
                <a:lnTo>
                  <a:pt x="641" y="829"/>
                </a:lnTo>
                <a:lnTo>
                  <a:pt x="622" y="842"/>
                </a:lnTo>
                <a:lnTo>
                  <a:pt x="630" y="850"/>
                </a:lnTo>
                <a:lnTo>
                  <a:pt x="626" y="854"/>
                </a:lnTo>
                <a:lnTo>
                  <a:pt x="622" y="858"/>
                </a:lnTo>
                <a:lnTo>
                  <a:pt x="622" y="865"/>
                </a:lnTo>
                <a:lnTo>
                  <a:pt x="618" y="871"/>
                </a:lnTo>
                <a:lnTo>
                  <a:pt x="599" y="886"/>
                </a:lnTo>
                <a:lnTo>
                  <a:pt x="584" y="904"/>
                </a:lnTo>
                <a:lnTo>
                  <a:pt x="580" y="911"/>
                </a:lnTo>
                <a:lnTo>
                  <a:pt x="580" y="923"/>
                </a:lnTo>
                <a:lnTo>
                  <a:pt x="584" y="923"/>
                </a:lnTo>
                <a:lnTo>
                  <a:pt x="591" y="933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47" name="Freeform 493"/>
          <p:cNvSpPr>
            <a:spLocks/>
          </p:cNvSpPr>
          <p:nvPr/>
        </p:nvSpPr>
        <p:spPr bwMode="gray">
          <a:xfrm>
            <a:off x="5575591" y="2730641"/>
            <a:ext cx="21595" cy="30348"/>
          </a:xfrm>
          <a:custGeom>
            <a:avLst/>
            <a:gdLst>
              <a:gd name="T0" fmla="*/ 0 w 55"/>
              <a:gd name="T1" fmla="*/ 7 h 78"/>
              <a:gd name="T2" fmla="*/ 0 w 55"/>
              <a:gd name="T3" fmla="*/ 5 h 78"/>
              <a:gd name="T4" fmla="*/ 2 w 55"/>
              <a:gd name="T5" fmla="*/ 3 h 78"/>
              <a:gd name="T6" fmla="*/ 4 w 55"/>
              <a:gd name="T7" fmla="*/ 1 h 78"/>
              <a:gd name="T8" fmla="*/ 5 w 55"/>
              <a:gd name="T9" fmla="*/ 0 h 78"/>
              <a:gd name="T10" fmla="*/ 9 w 55"/>
              <a:gd name="T11" fmla="*/ 1 h 78"/>
              <a:gd name="T12" fmla="*/ 11 w 55"/>
              <a:gd name="T13" fmla="*/ 3 h 78"/>
              <a:gd name="T14" fmla="*/ 14 w 55"/>
              <a:gd name="T15" fmla="*/ 9 h 78"/>
              <a:gd name="T16" fmla="*/ 14 w 55"/>
              <a:gd name="T17" fmla="*/ 20 h 78"/>
              <a:gd name="T18" fmla="*/ 7 w 55"/>
              <a:gd name="T19" fmla="*/ 19 h 78"/>
              <a:gd name="T20" fmla="*/ 3 w 55"/>
              <a:gd name="T21" fmla="*/ 17 h 78"/>
              <a:gd name="T22" fmla="*/ 2 w 55"/>
              <a:gd name="T23" fmla="*/ 15 h 78"/>
              <a:gd name="T24" fmla="*/ 0 w 55"/>
              <a:gd name="T25" fmla="*/ 12 h 78"/>
              <a:gd name="T26" fmla="*/ 0 w 55"/>
              <a:gd name="T27" fmla="*/ 7 h 7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55"/>
              <a:gd name="T43" fmla="*/ 0 h 78"/>
              <a:gd name="T44" fmla="*/ 55 w 55"/>
              <a:gd name="T45" fmla="*/ 78 h 78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55" h="78">
                <a:moveTo>
                  <a:pt x="0" y="28"/>
                </a:moveTo>
                <a:lnTo>
                  <a:pt x="0" y="21"/>
                </a:lnTo>
                <a:lnTo>
                  <a:pt x="7" y="15"/>
                </a:lnTo>
                <a:lnTo>
                  <a:pt x="13" y="7"/>
                </a:lnTo>
                <a:lnTo>
                  <a:pt x="17" y="0"/>
                </a:lnTo>
                <a:lnTo>
                  <a:pt x="36" y="3"/>
                </a:lnTo>
                <a:lnTo>
                  <a:pt x="44" y="15"/>
                </a:lnTo>
                <a:lnTo>
                  <a:pt x="55" y="36"/>
                </a:lnTo>
                <a:lnTo>
                  <a:pt x="55" y="78"/>
                </a:lnTo>
                <a:lnTo>
                  <a:pt x="28" y="74"/>
                </a:lnTo>
                <a:lnTo>
                  <a:pt x="9" y="65"/>
                </a:lnTo>
                <a:lnTo>
                  <a:pt x="7" y="61"/>
                </a:lnTo>
                <a:lnTo>
                  <a:pt x="0" y="49"/>
                </a:lnTo>
                <a:lnTo>
                  <a:pt x="0" y="28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48" name="Freeform 494"/>
          <p:cNvSpPr>
            <a:spLocks/>
          </p:cNvSpPr>
          <p:nvPr/>
        </p:nvSpPr>
        <p:spPr bwMode="gray">
          <a:xfrm>
            <a:off x="5509264" y="2871485"/>
            <a:ext cx="52445" cy="64586"/>
          </a:xfrm>
          <a:custGeom>
            <a:avLst/>
            <a:gdLst>
              <a:gd name="T0" fmla="*/ 34 w 136"/>
              <a:gd name="T1" fmla="*/ 21 h 165"/>
              <a:gd name="T2" fmla="*/ 33 w 136"/>
              <a:gd name="T3" fmla="*/ 25 h 165"/>
              <a:gd name="T4" fmla="*/ 32 w 136"/>
              <a:gd name="T5" fmla="*/ 30 h 165"/>
              <a:gd name="T6" fmla="*/ 30 w 136"/>
              <a:gd name="T7" fmla="*/ 34 h 165"/>
              <a:gd name="T8" fmla="*/ 29 w 136"/>
              <a:gd name="T9" fmla="*/ 37 h 165"/>
              <a:gd name="T10" fmla="*/ 21 w 136"/>
              <a:gd name="T11" fmla="*/ 37 h 165"/>
              <a:gd name="T12" fmla="*/ 20 w 136"/>
              <a:gd name="T13" fmla="*/ 38 h 165"/>
              <a:gd name="T14" fmla="*/ 18 w 136"/>
              <a:gd name="T15" fmla="*/ 39 h 165"/>
              <a:gd name="T16" fmla="*/ 17 w 136"/>
              <a:gd name="T17" fmla="*/ 41 h 165"/>
              <a:gd name="T18" fmla="*/ 15 w 136"/>
              <a:gd name="T19" fmla="*/ 42 h 165"/>
              <a:gd name="T20" fmla="*/ 12 w 136"/>
              <a:gd name="T21" fmla="*/ 40 h 165"/>
              <a:gd name="T22" fmla="*/ 6 w 136"/>
              <a:gd name="T23" fmla="*/ 35 h 165"/>
              <a:gd name="T24" fmla="*/ 1 w 136"/>
              <a:gd name="T25" fmla="*/ 29 h 165"/>
              <a:gd name="T26" fmla="*/ 1 w 136"/>
              <a:gd name="T27" fmla="*/ 26 h 165"/>
              <a:gd name="T28" fmla="*/ 0 w 136"/>
              <a:gd name="T29" fmla="*/ 25 h 165"/>
              <a:gd name="T30" fmla="*/ 1 w 136"/>
              <a:gd name="T31" fmla="*/ 24 h 165"/>
              <a:gd name="T32" fmla="*/ 1 w 136"/>
              <a:gd name="T33" fmla="*/ 23 h 165"/>
              <a:gd name="T34" fmla="*/ 3 w 136"/>
              <a:gd name="T35" fmla="*/ 22 h 165"/>
              <a:gd name="T36" fmla="*/ 4 w 136"/>
              <a:gd name="T37" fmla="*/ 20 h 165"/>
              <a:gd name="T38" fmla="*/ 6 w 136"/>
              <a:gd name="T39" fmla="*/ 18 h 165"/>
              <a:gd name="T40" fmla="*/ 7 w 136"/>
              <a:gd name="T41" fmla="*/ 14 h 165"/>
              <a:gd name="T42" fmla="*/ 9 w 136"/>
              <a:gd name="T43" fmla="*/ 8 h 165"/>
              <a:gd name="T44" fmla="*/ 10 w 136"/>
              <a:gd name="T45" fmla="*/ 5 h 165"/>
              <a:gd name="T46" fmla="*/ 12 w 136"/>
              <a:gd name="T47" fmla="*/ 2 h 165"/>
              <a:gd name="T48" fmla="*/ 15 w 136"/>
              <a:gd name="T49" fmla="*/ 1 h 165"/>
              <a:gd name="T50" fmla="*/ 18 w 136"/>
              <a:gd name="T51" fmla="*/ 0 h 165"/>
              <a:gd name="T52" fmla="*/ 21 w 136"/>
              <a:gd name="T53" fmla="*/ 1 h 165"/>
              <a:gd name="T54" fmla="*/ 25 w 136"/>
              <a:gd name="T55" fmla="*/ 3 h 165"/>
              <a:gd name="T56" fmla="*/ 27 w 136"/>
              <a:gd name="T57" fmla="*/ 6 h 165"/>
              <a:gd name="T58" fmla="*/ 30 w 136"/>
              <a:gd name="T59" fmla="*/ 9 h 165"/>
              <a:gd name="T60" fmla="*/ 33 w 136"/>
              <a:gd name="T61" fmla="*/ 16 h 165"/>
              <a:gd name="T62" fmla="*/ 34 w 136"/>
              <a:gd name="T63" fmla="*/ 21 h 165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36"/>
              <a:gd name="T97" fmla="*/ 0 h 165"/>
              <a:gd name="T98" fmla="*/ 136 w 136"/>
              <a:gd name="T99" fmla="*/ 165 h 165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36" h="165">
                <a:moveTo>
                  <a:pt x="136" y="83"/>
                </a:moveTo>
                <a:lnTo>
                  <a:pt x="132" y="100"/>
                </a:lnTo>
                <a:lnTo>
                  <a:pt x="128" y="119"/>
                </a:lnTo>
                <a:lnTo>
                  <a:pt x="121" y="133"/>
                </a:lnTo>
                <a:lnTo>
                  <a:pt x="117" y="148"/>
                </a:lnTo>
                <a:lnTo>
                  <a:pt x="86" y="148"/>
                </a:lnTo>
                <a:lnTo>
                  <a:pt x="82" y="152"/>
                </a:lnTo>
                <a:lnTo>
                  <a:pt x="75" y="156"/>
                </a:lnTo>
                <a:lnTo>
                  <a:pt x="71" y="162"/>
                </a:lnTo>
                <a:lnTo>
                  <a:pt x="61" y="165"/>
                </a:lnTo>
                <a:lnTo>
                  <a:pt x="50" y="160"/>
                </a:lnTo>
                <a:lnTo>
                  <a:pt x="27" y="137"/>
                </a:lnTo>
                <a:lnTo>
                  <a:pt x="7" y="115"/>
                </a:lnTo>
                <a:lnTo>
                  <a:pt x="4" y="104"/>
                </a:lnTo>
                <a:lnTo>
                  <a:pt x="0" y="98"/>
                </a:lnTo>
                <a:lnTo>
                  <a:pt x="4" y="94"/>
                </a:lnTo>
                <a:lnTo>
                  <a:pt x="7" y="91"/>
                </a:lnTo>
                <a:lnTo>
                  <a:pt x="15" y="87"/>
                </a:lnTo>
                <a:lnTo>
                  <a:pt x="19" y="79"/>
                </a:lnTo>
                <a:lnTo>
                  <a:pt x="27" y="69"/>
                </a:lnTo>
                <a:lnTo>
                  <a:pt x="30" y="54"/>
                </a:lnTo>
                <a:lnTo>
                  <a:pt x="38" y="29"/>
                </a:lnTo>
                <a:lnTo>
                  <a:pt x="42" y="18"/>
                </a:lnTo>
                <a:lnTo>
                  <a:pt x="50" y="8"/>
                </a:lnTo>
                <a:lnTo>
                  <a:pt x="61" y="4"/>
                </a:lnTo>
                <a:lnTo>
                  <a:pt x="75" y="0"/>
                </a:lnTo>
                <a:lnTo>
                  <a:pt x="86" y="4"/>
                </a:lnTo>
                <a:lnTo>
                  <a:pt x="101" y="12"/>
                </a:lnTo>
                <a:lnTo>
                  <a:pt x="109" y="21"/>
                </a:lnTo>
                <a:lnTo>
                  <a:pt x="121" y="33"/>
                </a:lnTo>
                <a:lnTo>
                  <a:pt x="132" y="62"/>
                </a:lnTo>
                <a:lnTo>
                  <a:pt x="136" y="83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49" name="Freeform 495"/>
          <p:cNvSpPr>
            <a:spLocks/>
          </p:cNvSpPr>
          <p:nvPr/>
        </p:nvSpPr>
        <p:spPr bwMode="gray">
          <a:xfrm>
            <a:off x="5409002" y="2803009"/>
            <a:ext cx="88693" cy="113609"/>
          </a:xfrm>
          <a:custGeom>
            <a:avLst/>
            <a:gdLst>
              <a:gd name="T0" fmla="*/ 13 w 230"/>
              <a:gd name="T1" fmla="*/ 12 h 291"/>
              <a:gd name="T2" fmla="*/ 18 w 230"/>
              <a:gd name="T3" fmla="*/ 20 h 291"/>
              <a:gd name="T4" fmla="*/ 22 w 230"/>
              <a:gd name="T5" fmla="*/ 28 h 291"/>
              <a:gd name="T6" fmla="*/ 26 w 230"/>
              <a:gd name="T7" fmla="*/ 28 h 291"/>
              <a:gd name="T8" fmla="*/ 28 w 230"/>
              <a:gd name="T9" fmla="*/ 21 h 291"/>
              <a:gd name="T10" fmla="*/ 26 w 230"/>
              <a:gd name="T11" fmla="*/ 16 h 291"/>
              <a:gd name="T12" fmla="*/ 17 w 230"/>
              <a:gd name="T13" fmla="*/ 9 h 291"/>
              <a:gd name="T14" fmla="*/ 15 w 230"/>
              <a:gd name="T15" fmla="*/ 5 h 291"/>
              <a:gd name="T16" fmla="*/ 19 w 230"/>
              <a:gd name="T17" fmla="*/ 1 h 291"/>
              <a:gd name="T18" fmla="*/ 26 w 230"/>
              <a:gd name="T19" fmla="*/ 0 h 291"/>
              <a:gd name="T20" fmla="*/ 31 w 230"/>
              <a:gd name="T21" fmla="*/ 4 h 291"/>
              <a:gd name="T22" fmla="*/ 33 w 230"/>
              <a:gd name="T23" fmla="*/ 6 h 291"/>
              <a:gd name="T24" fmla="*/ 43 w 230"/>
              <a:gd name="T25" fmla="*/ 6 h 291"/>
              <a:gd name="T26" fmla="*/ 49 w 230"/>
              <a:gd name="T27" fmla="*/ 8 h 291"/>
              <a:gd name="T28" fmla="*/ 52 w 230"/>
              <a:gd name="T29" fmla="*/ 13 h 291"/>
              <a:gd name="T30" fmla="*/ 54 w 230"/>
              <a:gd name="T31" fmla="*/ 25 h 291"/>
              <a:gd name="T32" fmla="*/ 52 w 230"/>
              <a:gd name="T33" fmla="*/ 33 h 291"/>
              <a:gd name="T34" fmla="*/ 53 w 230"/>
              <a:gd name="T35" fmla="*/ 38 h 291"/>
              <a:gd name="T36" fmla="*/ 50 w 230"/>
              <a:gd name="T37" fmla="*/ 41 h 291"/>
              <a:gd name="T38" fmla="*/ 51 w 230"/>
              <a:gd name="T39" fmla="*/ 43 h 291"/>
              <a:gd name="T40" fmla="*/ 55 w 230"/>
              <a:gd name="T41" fmla="*/ 45 h 291"/>
              <a:gd name="T42" fmla="*/ 55 w 230"/>
              <a:gd name="T43" fmla="*/ 49 h 291"/>
              <a:gd name="T44" fmla="*/ 51 w 230"/>
              <a:gd name="T45" fmla="*/ 52 h 291"/>
              <a:gd name="T46" fmla="*/ 51 w 230"/>
              <a:gd name="T47" fmla="*/ 57 h 291"/>
              <a:gd name="T48" fmla="*/ 53 w 230"/>
              <a:gd name="T49" fmla="*/ 62 h 291"/>
              <a:gd name="T50" fmla="*/ 53 w 230"/>
              <a:gd name="T51" fmla="*/ 67 h 291"/>
              <a:gd name="T52" fmla="*/ 49 w 230"/>
              <a:gd name="T53" fmla="*/ 71 h 291"/>
              <a:gd name="T54" fmla="*/ 38 w 230"/>
              <a:gd name="T55" fmla="*/ 72 h 291"/>
              <a:gd name="T56" fmla="*/ 27 w 230"/>
              <a:gd name="T57" fmla="*/ 72 h 291"/>
              <a:gd name="T58" fmla="*/ 25 w 230"/>
              <a:gd name="T59" fmla="*/ 70 h 291"/>
              <a:gd name="T60" fmla="*/ 25 w 230"/>
              <a:gd name="T61" fmla="*/ 63 h 291"/>
              <a:gd name="T62" fmla="*/ 26 w 230"/>
              <a:gd name="T63" fmla="*/ 56 h 291"/>
              <a:gd name="T64" fmla="*/ 32 w 230"/>
              <a:gd name="T65" fmla="*/ 47 h 291"/>
              <a:gd name="T66" fmla="*/ 29 w 230"/>
              <a:gd name="T67" fmla="*/ 43 h 291"/>
              <a:gd name="T68" fmla="*/ 15 w 230"/>
              <a:gd name="T69" fmla="*/ 49 h 291"/>
              <a:gd name="T70" fmla="*/ 9 w 230"/>
              <a:gd name="T71" fmla="*/ 50 h 291"/>
              <a:gd name="T72" fmla="*/ 3 w 230"/>
              <a:gd name="T73" fmla="*/ 49 h 291"/>
              <a:gd name="T74" fmla="*/ 0 w 230"/>
              <a:gd name="T75" fmla="*/ 45 h 291"/>
              <a:gd name="T76" fmla="*/ 1 w 230"/>
              <a:gd name="T77" fmla="*/ 43 h 291"/>
              <a:gd name="T78" fmla="*/ 7 w 230"/>
              <a:gd name="T79" fmla="*/ 40 h 291"/>
              <a:gd name="T80" fmla="*/ 7 w 230"/>
              <a:gd name="T81" fmla="*/ 37 h 291"/>
              <a:gd name="T82" fmla="*/ 6 w 230"/>
              <a:gd name="T83" fmla="*/ 34 h 291"/>
              <a:gd name="T84" fmla="*/ 14 w 230"/>
              <a:gd name="T85" fmla="*/ 31 h 291"/>
              <a:gd name="T86" fmla="*/ 12 w 230"/>
              <a:gd name="T87" fmla="*/ 28 h 291"/>
              <a:gd name="T88" fmla="*/ 10 w 230"/>
              <a:gd name="T89" fmla="*/ 24 h 291"/>
              <a:gd name="T90" fmla="*/ 8 w 230"/>
              <a:gd name="T91" fmla="*/ 21 h 291"/>
              <a:gd name="T92" fmla="*/ 7 w 230"/>
              <a:gd name="T93" fmla="*/ 18 h 291"/>
              <a:gd name="T94" fmla="*/ 7 w 230"/>
              <a:gd name="T95" fmla="*/ 13 h 291"/>
              <a:gd name="T96" fmla="*/ 11 w 230"/>
              <a:gd name="T97" fmla="*/ 12 h 29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230"/>
              <a:gd name="T148" fmla="*/ 0 h 291"/>
              <a:gd name="T149" fmla="*/ 230 w 230"/>
              <a:gd name="T150" fmla="*/ 291 h 291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230" h="291">
                <a:moveTo>
                  <a:pt x="44" y="48"/>
                </a:moveTo>
                <a:lnTo>
                  <a:pt x="51" y="48"/>
                </a:lnTo>
                <a:lnTo>
                  <a:pt x="59" y="57"/>
                </a:lnTo>
                <a:lnTo>
                  <a:pt x="71" y="80"/>
                </a:lnTo>
                <a:lnTo>
                  <a:pt x="78" y="105"/>
                </a:lnTo>
                <a:lnTo>
                  <a:pt x="86" y="111"/>
                </a:lnTo>
                <a:lnTo>
                  <a:pt x="94" y="115"/>
                </a:lnTo>
                <a:lnTo>
                  <a:pt x="101" y="111"/>
                </a:lnTo>
                <a:lnTo>
                  <a:pt x="105" y="105"/>
                </a:lnTo>
                <a:lnTo>
                  <a:pt x="109" y="82"/>
                </a:lnTo>
                <a:lnTo>
                  <a:pt x="105" y="73"/>
                </a:lnTo>
                <a:lnTo>
                  <a:pt x="101" y="61"/>
                </a:lnTo>
                <a:lnTo>
                  <a:pt x="86" y="48"/>
                </a:lnTo>
                <a:lnTo>
                  <a:pt x="67" y="36"/>
                </a:lnTo>
                <a:lnTo>
                  <a:pt x="63" y="25"/>
                </a:lnTo>
                <a:lnTo>
                  <a:pt x="63" y="19"/>
                </a:lnTo>
                <a:lnTo>
                  <a:pt x="67" y="7"/>
                </a:lnTo>
                <a:lnTo>
                  <a:pt x="75" y="4"/>
                </a:lnTo>
                <a:lnTo>
                  <a:pt x="90" y="0"/>
                </a:lnTo>
                <a:lnTo>
                  <a:pt x="101" y="0"/>
                </a:lnTo>
                <a:lnTo>
                  <a:pt x="121" y="0"/>
                </a:lnTo>
                <a:lnTo>
                  <a:pt x="124" y="15"/>
                </a:lnTo>
                <a:lnTo>
                  <a:pt x="128" y="19"/>
                </a:lnTo>
                <a:lnTo>
                  <a:pt x="132" y="21"/>
                </a:lnTo>
                <a:lnTo>
                  <a:pt x="155" y="21"/>
                </a:lnTo>
                <a:lnTo>
                  <a:pt x="170" y="21"/>
                </a:lnTo>
                <a:lnTo>
                  <a:pt x="182" y="25"/>
                </a:lnTo>
                <a:lnTo>
                  <a:pt x="194" y="32"/>
                </a:lnTo>
                <a:lnTo>
                  <a:pt x="201" y="40"/>
                </a:lnTo>
                <a:lnTo>
                  <a:pt x="205" y="50"/>
                </a:lnTo>
                <a:lnTo>
                  <a:pt x="209" y="65"/>
                </a:lnTo>
                <a:lnTo>
                  <a:pt x="213" y="98"/>
                </a:lnTo>
                <a:lnTo>
                  <a:pt x="209" y="115"/>
                </a:lnTo>
                <a:lnTo>
                  <a:pt x="205" y="130"/>
                </a:lnTo>
                <a:lnTo>
                  <a:pt x="205" y="140"/>
                </a:lnTo>
                <a:lnTo>
                  <a:pt x="209" y="151"/>
                </a:lnTo>
                <a:lnTo>
                  <a:pt x="201" y="155"/>
                </a:lnTo>
                <a:lnTo>
                  <a:pt x="197" y="163"/>
                </a:lnTo>
                <a:lnTo>
                  <a:pt x="201" y="167"/>
                </a:lnTo>
                <a:lnTo>
                  <a:pt x="201" y="172"/>
                </a:lnTo>
                <a:lnTo>
                  <a:pt x="213" y="176"/>
                </a:lnTo>
                <a:lnTo>
                  <a:pt x="220" y="180"/>
                </a:lnTo>
                <a:lnTo>
                  <a:pt x="230" y="188"/>
                </a:lnTo>
                <a:lnTo>
                  <a:pt x="220" y="196"/>
                </a:lnTo>
                <a:lnTo>
                  <a:pt x="209" y="201"/>
                </a:lnTo>
                <a:lnTo>
                  <a:pt x="201" y="205"/>
                </a:lnTo>
                <a:lnTo>
                  <a:pt x="197" y="217"/>
                </a:lnTo>
                <a:lnTo>
                  <a:pt x="201" y="226"/>
                </a:lnTo>
                <a:lnTo>
                  <a:pt x="205" y="234"/>
                </a:lnTo>
                <a:lnTo>
                  <a:pt x="209" y="245"/>
                </a:lnTo>
                <a:lnTo>
                  <a:pt x="213" y="253"/>
                </a:lnTo>
                <a:lnTo>
                  <a:pt x="209" y="267"/>
                </a:lnTo>
                <a:lnTo>
                  <a:pt x="201" y="274"/>
                </a:lnTo>
                <a:lnTo>
                  <a:pt x="194" y="282"/>
                </a:lnTo>
                <a:lnTo>
                  <a:pt x="178" y="286"/>
                </a:lnTo>
                <a:lnTo>
                  <a:pt x="151" y="288"/>
                </a:lnTo>
                <a:lnTo>
                  <a:pt x="124" y="291"/>
                </a:lnTo>
                <a:lnTo>
                  <a:pt x="105" y="288"/>
                </a:lnTo>
                <a:lnTo>
                  <a:pt x="101" y="286"/>
                </a:lnTo>
                <a:lnTo>
                  <a:pt x="98" y="278"/>
                </a:lnTo>
                <a:lnTo>
                  <a:pt x="98" y="267"/>
                </a:lnTo>
                <a:lnTo>
                  <a:pt x="98" y="249"/>
                </a:lnTo>
                <a:lnTo>
                  <a:pt x="98" y="238"/>
                </a:lnTo>
                <a:lnTo>
                  <a:pt x="101" y="224"/>
                </a:lnTo>
                <a:lnTo>
                  <a:pt x="113" y="205"/>
                </a:lnTo>
                <a:lnTo>
                  <a:pt x="128" y="188"/>
                </a:lnTo>
                <a:lnTo>
                  <a:pt x="136" y="167"/>
                </a:lnTo>
                <a:lnTo>
                  <a:pt x="113" y="172"/>
                </a:lnTo>
                <a:lnTo>
                  <a:pt x="86" y="184"/>
                </a:lnTo>
                <a:lnTo>
                  <a:pt x="63" y="196"/>
                </a:lnTo>
                <a:lnTo>
                  <a:pt x="51" y="197"/>
                </a:lnTo>
                <a:lnTo>
                  <a:pt x="36" y="197"/>
                </a:lnTo>
                <a:lnTo>
                  <a:pt x="23" y="197"/>
                </a:lnTo>
                <a:lnTo>
                  <a:pt x="11" y="196"/>
                </a:lnTo>
                <a:lnTo>
                  <a:pt x="3" y="188"/>
                </a:lnTo>
                <a:lnTo>
                  <a:pt x="0" y="180"/>
                </a:lnTo>
                <a:lnTo>
                  <a:pt x="0" y="172"/>
                </a:lnTo>
                <a:lnTo>
                  <a:pt x="3" y="169"/>
                </a:lnTo>
                <a:lnTo>
                  <a:pt x="11" y="163"/>
                </a:lnTo>
                <a:lnTo>
                  <a:pt x="25" y="159"/>
                </a:lnTo>
                <a:lnTo>
                  <a:pt x="40" y="163"/>
                </a:lnTo>
                <a:lnTo>
                  <a:pt x="28" y="148"/>
                </a:lnTo>
                <a:lnTo>
                  <a:pt x="25" y="140"/>
                </a:lnTo>
                <a:lnTo>
                  <a:pt x="23" y="134"/>
                </a:lnTo>
                <a:lnTo>
                  <a:pt x="63" y="130"/>
                </a:lnTo>
                <a:lnTo>
                  <a:pt x="55" y="123"/>
                </a:lnTo>
                <a:lnTo>
                  <a:pt x="51" y="115"/>
                </a:lnTo>
                <a:lnTo>
                  <a:pt x="48" y="109"/>
                </a:lnTo>
                <a:lnTo>
                  <a:pt x="51" y="98"/>
                </a:lnTo>
                <a:lnTo>
                  <a:pt x="40" y="94"/>
                </a:lnTo>
                <a:lnTo>
                  <a:pt x="36" y="90"/>
                </a:lnTo>
                <a:lnTo>
                  <a:pt x="32" y="82"/>
                </a:lnTo>
                <a:lnTo>
                  <a:pt x="36" y="76"/>
                </a:lnTo>
                <a:lnTo>
                  <a:pt x="25" y="69"/>
                </a:lnTo>
                <a:lnTo>
                  <a:pt x="23" y="61"/>
                </a:lnTo>
                <a:lnTo>
                  <a:pt x="25" y="50"/>
                </a:lnTo>
                <a:lnTo>
                  <a:pt x="28" y="48"/>
                </a:lnTo>
                <a:lnTo>
                  <a:pt x="44" y="48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50" name="Freeform 496"/>
          <p:cNvSpPr>
            <a:spLocks/>
          </p:cNvSpPr>
          <p:nvPr/>
        </p:nvSpPr>
        <p:spPr bwMode="gray">
          <a:xfrm>
            <a:off x="5383551" y="2636486"/>
            <a:ext cx="80981" cy="98824"/>
          </a:xfrm>
          <a:custGeom>
            <a:avLst/>
            <a:gdLst>
              <a:gd name="T0" fmla="*/ 11 w 210"/>
              <a:gd name="T1" fmla="*/ 1 h 253"/>
              <a:gd name="T2" fmla="*/ 19 w 210"/>
              <a:gd name="T3" fmla="*/ 3 h 253"/>
              <a:gd name="T4" fmla="*/ 24 w 210"/>
              <a:gd name="T5" fmla="*/ 7 h 253"/>
              <a:gd name="T6" fmla="*/ 24 w 210"/>
              <a:gd name="T7" fmla="*/ 13 h 253"/>
              <a:gd name="T8" fmla="*/ 24 w 210"/>
              <a:gd name="T9" fmla="*/ 17 h 253"/>
              <a:gd name="T10" fmla="*/ 27 w 210"/>
              <a:gd name="T11" fmla="*/ 13 h 253"/>
              <a:gd name="T12" fmla="*/ 31 w 210"/>
              <a:gd name="T13" fmla="*/ 13 h 253"/>
              <a:gd name="T14" fmla="*/ 36 w 210"/>
              <a:gd name="T15" fmla="*/ 17 h 253"/>
              <a:gd name="T16" fmla="*/ 37 w 210"/>
              <a:gd name="T17" fmla="*/ 24 h 253"/>
              <a:gd name="T18" fmla="*/ 45 w 210"/>
              <a:gd name="T19" fmla="*/ 28 h 253"/>
              <a:gd name="T20" fmla="*/ 50 w 210"/>
              <a:gd name="T21" fmla="*/ 48 h 253"/>
              <a:gd name="T22" fmla="*/ 53 w 210"/>
              <a:gd name="T23" fmla="*/ 57 h 253"/>
              <a:gd name="T24" fmla="*/ 51 w 210"/>
              <a:gd name="T25" fmla="*/ 62 h 253"/>
              <a:gd name="T26" fmla="*/ 46 w 210"/>
              <a:gd name="T27" fmla="*/ 64 h 253"/>
              <a:gd name="T28" fmla="*/ 42 w 210"/>
              <a:gd name="T29" fmla="*/ 63 h 253"/>
              <a:gd name="T30" fmla="*/ 41 w 210"/>
              <a:gd name="T31" fmla="*/ 56 h 253"/>
              <a:gd name="T32" fmla="*/ 37 w 210"/>
              <a:gd name="T33" fmla="*/ 50 h 253"/>
              <a:gd name="T34" fmla="*/ 28 w 210"/>
              <a:gd name="T35" fmla="*/ 42 h 253"/>
              <a:gd name="T36" fmla="*/ 25 w 210"/>
              <a:gd name="T37" fmla="*/ 41 h 253"/>
              <a:gd name="T38" fmla="*/ 18 w 210"/>
              <a:gd name="T39" fmla="*/ 43 h 253"/>
              <a:gd name="T40" fmla="*/ 11 w 210"/>
              <a:gd name="T41" fmla="*/ 44 h 253"/>
              <a:gd name="T42" fmla="*/ 4 w 210"/>
              <a:gd name="T43" fmla="*/ 42 h 253"/>
              <a:gd name="T44" fmla="*/ 0 w 210"/>
              <a:gd name="T45" fmla="*/ 37 h 253"/>
              <a:gd name="T46" fmla="*/ 2 w 210"/>
              <a:gd name="T47" fmla="*/ 33 h 253"/>
              <a:gd name="T48" fmla="*/ 7 w 210"/>
              <a:gd name="T49" fmla="*/ 31 h 253"/>
              <a:gd name="T50" fmla="*/ 17 w 210"/>
              <a:gd name="T51" fmla="*/ 30 h 253"/>
              <a:gd name="T52" fmla="*/ 18 w 210"/>
              <a:gd name="T53" fmla="*/ 26 h 253"/>
              <a:gd name="T54" fmla="*/ 13 w 210"/>
              <a:gd name="T55" fmla="*/ 20 h 253"/>
              <a:gd name="T56" fmla="*/ 7 w 210"/>
              <a:gd name="T57" fmla="*/ 15 h 253"/>
              <a:gd name="T58" fmla="*/ 3 w 210"/>
              <a:gd name="T59" fmla="*/ 10 h 253"/>
              <a:gd name="T60" fmla="*/ 3 w 210"/>
              <a:gd name="T61" fmla="*/ 4 h 253"/>
              <a:gd name="T62" fmla="*/ 6 w 210"/>
              <a:gd name="T63" fmla="*/ 1 h 253"/>
              <a:gd name="T64" fmla="*/ 6 w 210"/>
              <a:gd name="T65" fmla="*/ 1 h 253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10"/>
              <a:gd name="T100" fmla="*/ 0 h 253"/>
              <a:gd name="T101" fmla="*/ 210 w 210"/>
              <a:gd name="T102" fmla="*/ 253 h 253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10" h="253">
                <a:moveTo>
                  <a:pt x="23" y="4"/>
                </a:moveTo>
                <a:lnTo>
                  <a:pt x="43" y="4"/>
                </a:lnTo>
                <a:lnTo>
                  <a:pt x="54" y="4"/>
                </a:lnTo>
                <a:lnTo>
                  <a:pt x="73" y="11"/>
                </a:lnTo>
                <a:lnTo>
                  <a:pt x="89" y="23"/>
                </a:lnTo>
                <a:lnTo>
                  <a:pt x="93" y="28"/>
                </a:lnTo>
                <a:lnTo>
                  <a:pt x="93" y="36"/>
                </a:lnTo>
                <a:lnTo>
                  <a:pt x="93" y="52"/>
                </a:lnTo>
                <a:lnTo>
                  <a:pt x="93" y="61"/>
                </a:lnTo>
                <a:lnTo>
                  <a:pt x="93" y="65"/>
                </a:lnTo>
                <a:lnTo>
                  <a:pt x="102" y="52"/>
                </a:lnTo>
                <a:lnTo>
                  <a:pt x="110" y="52"/>
                </a:lnTo>
                <a:lnTo>
                  <a:pt x="117" y="48"/>
                </a:lnTo>
                <a:lnTo>
                  <a:pt x="125" y="52"/>
                </a:lnTo>
                <a:lnTo>
                  <a:pt x="129" y="52"/>
                </a:lnTo>
                <a:lnTo>
                  <a:pt x="141" y="65"/>
                </a:lnTo>
                <a:lnTo>
                  <a:pt x="144" y="80"/>
                </a:lnTo>
                <a:lnTo>
                  <a:pt x="148" y="94"/>
                </a:lnTo>
                <a:lnTo>
                  <a:pt x="167" y="98"/>
                </a:lnTo>
                <a:lnTo>
                  <a:pt x="179" y="109"/>
                </a:lnTo>
                <a:lnTo>
                  <a:pt x="179" y="167"/>
                </a:lnTo>
                <a:lnTo>
                  <a:pt x="198" y="192"/>
                </a:lnTo>
                <a:lnTo>
                  <a:pt x="206" y="205"/>
                </a:lnTo>
                <a:lnTo>
                  <a:pt x="210" y="226"/>
                </a:lnTo>
                <a:lnTo>
                  <a:pt x="206" y="238"/>
                </a:lnTo>
                <a:lnTo>
                  <a:pt x="202" y="245"/>
                </a:lnTo>
                <a:lnTo>
                  <a:pt x="194" y="253"/>
                </a:lnTo>
                <a:lnTo>
                  <a:pt x="183" y="253"/>
                </a:lnTo>
                <a:lnTo>
                  <a:pt x="175" y="253"/>
                </a:lnTo>
                <a:lnTo>
                  <a:pt x="167" y="249"/>
                </a:lnTo>
                <a:lnTo>
                  <a:pt x="164" y="238"/>
                </a:lnTo>
                <a:lnTo>
                  <a:pt x="164" y="224"/>
                </a:lnTo>
                <a:lnTo>
                  <a:pt x="160" y="213"/>
                </a:lnTo>
                <a:lnTo>
                  <a:pt x="148" y="197"/>
                </a:lnTo>
                <a:lnTo>
                  <a:pt x="133" y="180"/>
                </a:lnTo>
                <a:lnTo>
                  <a:pt x="114" y="167"/>
                </a:lnTo>
                <a:lnTo>
                  <a:pt x="106" y="163"/>
                </a:lnTo>
                <a:lnTo>
                  <a:pt x="100" y="163"/>
                </a:lnTo>
                <a:lnTo>
                  <a:pt x="85" y="163"/>
                </a:lnTo>
                <a:lnTo>
                  <a:pt x="69" y="169"/>
                </a:lnTo>
                <a:lnTo>
                  <a:pt x="54" y="172"/>
                </a:lnTo>
                <a:lnTo>
                  <a:pt x="43" y="176"/>
                </a:lnTo>
                <a:lnTo>
                  <a:pt x="27" y="172"/>
                </a:lnTo>
                <a:lnTo>
                  <a:pt x="16" y="167"/>
                </a:lnTo>
                <a:lnTo>
                  <a:pt x="4" y="159"/>
                </a:lnTo>
                <a:lnTo>
                  <a:pt x="0" y="147"/>
                </a:lnTo>
                <a:lnTo>
                  <a:pt x="4" y="138"/>
                </a:lnTo>
                <a:lnTo>
                  <a:pt x="8" y="130"/>
                </a:lnTo>
                <a:lnTo>
                  <a:pt x="20" y="126"/>
                </a:lnTo>
                <a:lnTo>
                  <a:pt x="31" y="123"/>
                </a:lnTo>
                <a:lnTo>
                  <a:pt x="54" y="119"/>
                </a:lnTo>
                <a:lnTo>
                  <a:pt x="66" y="119"/>
                </a:lnTo>
                <a:lnTo>
                  <a:pt x="77" y="115"/>
                </a:lnTo>
                <a:lnTo>
                  <a:pt x="69" y="101"/>
                </a:lnTo>
                <a:lnTo>
                  <a:pt x="58" y="90"/>
                </a:lnTo>
                <a:lnTo>
                  <a:pt x="50" y="80"/>
                </a:lnTo>
                <a:lnTo>
                  <a:pt x="46" y="61"/>
                </a:lnTo>
                <a:lnTo>
                  <a:pt x="31" y="57"/>
                </a:lnTo>
                <a:lnTo>
                  <a:pt x="16" y="52"/>
                </a:lnTo>
                <a:lnTo>
                  <a:pt x="12" y="40"/>
                </a:lnTo>
                <a:lnTo>
                  <a:pt x="8" y="25"/>
                </a:lnTo>
                <a:lnTo>
                  <a:pt x="12" y="15"/>
                </a:lnTo>
                <a:lnTo>
                  <a:pt x="16" y="7"/>
                </a:lnTo>
                <a:lnTo>
                  <a:pt x="23" y="4"/>
                </a:lnTo>
                <a:lnTo>
                  <a:pt x="35" y="0"/>
                </a:lnTo>
                <a:lnTo>
                  <a:pt x="23" y="4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51" name="Freeform 497"/>
          <p:cNvSpPr>
            <a:spLocks/>
          </p:cNvSpPr>
          <p:nvPr/>
        </p:nvSpPr>
        <p:spPr bwMode="gray">
          <a:xfrm>
            <a:off x="5469159" y="2669946"/>
            <a:ext cx="53987" cy="65364"/>
          </a:xfrm>
          <a:custGeom>
            <a:avLst/>
            <a:gdLst>
              <a:gd name="T0" fmla="*/ 15 w 140"/>
              <a:gd name="T1" fmla="*/ 6 h 167"/>
              <a:gd name="T2" fmla="*/ 13 w 140"/>
              <a:gd name="T3" fmla="*/ 5 h 167"/>
              <a:gd name="T4" fmla="*/ 11 w 140"/>
              <a:gd name="T5" fmla="*/ 3 h 167"/>
              <a:gd name="T6" fmla="*/ 9 w 140"/>
              <a:gd name="T7" fmla="*/ 1 h 167"/>
              <a:gd name="T8" fmla="*/ 5 w 140"/>
              <a:gd name="T9" fmla="*/ 0 h 167"/>
              <a:gd name="T10" fmla="*/ 3 w 140"/>
              <a:gd name="T11" fmla="*/ 1 h 167"/>
              <a:gd name="T12" fmla="*/ 1 w 140"/>
              <a:gd name="T13" fmla="*/ 2 h 167"/>
              <a:gd name="T14" fmla="*/ 0 w 140"/>
              <a:gd name="T15" fmla="*/ 3 h 167"/>
              <a:gd name="T16" fmla="*/ 0 w 140"/>
              <a:gd name="T17" fmla="*/ 6 h 167"/>
              <a:gd name="T18" fmla="*/ 1 w 140"/>
              <a:gd name="T19" fmla="*/ 8 h 167"/>
              <a:gd name="T20" fmla="*/ 3 w 140"/>
              <a:gd name="T21" fmla="*/ 10 h 167"/>
              <a:gd name="T22" fmla="*/ 6 w 140"/>
              <a:gd name="T23" fmla="*/ 10 h 167"/>
              <a:gd name="T24" fmla="*/ 3 w 140"/>
              <a:gd name="T25" fmla="*/ 12 h 167"/>
              <a:gd name="T26" fmla="*/ 2 w 140"/>
              <a:gd name="T27" fmla="*/ 13 h 167"/>
              <a:gd name="T28" fmla="*/ 1 w 140"/>
              <a:gd name="T29" fmla="*/ 15 h 167"/>
              <a:gd name="T30" fmla="*/ 2 w 140"/>
              <a:gd name="T31" fmla="*/ 17 h 167"/>
              <a:gd name="T32" fmla="*/ 3 w 140"/>
              <a:gd name="T33" fmla="*/ 19 h 167"/>
              <a:gd name="T34" fmla="*/ 6 w 140"/>
              <a:gd name="T35" fmla="*/ 22 h 167"/>
              <a:gd name="T36" fmla="*/ 10 w 140"/>
              <a:gd name="T37" fmla="*/ 26 h 167"/>
              <a:gd name="T38" fmla="*/ 14 w 140"/>
              <a:gd name="T39" fmla="*/ 27 h 167"/>
              <a:gd name="T40" fmla="*/ 12 w 140"/>
              <a:gd name="T41" fmla="*/ 29 h 167"/>
              <a:gd name="T42" fmla="*/ 9 w 140"/>
              <a:gd name="T43" fmla="*/ 30 h 167"/>
              <a:gd name="T44" fmla="*/ 11 w 140"/>
              <a:gd name="T45" fmla="*/ 34 h 167"/>
              <a:gd name="T46" fmla="*/ 13 w 140"/>
              <a:gd name="T47" fmla="*/ 36 h 167"/>
              <a:gd name="T48" fmla="*/ 14 w 140"/>
              <a:gd name="T49" fmla="*/ 39 h 167"/>
              <a:gd name="T50" fmla="*/ 15 w 140"/>
              <a:gd name="T51" fmla="*/ 42 h 167"/>
              <a:gd name="T52" fmla="*/ 18 w 140"/>
              <a:gd name="T53" fmla="*/ 40 h 167"/>
              <a:gd name="T54" fmla="*/ 19 w 140"/>
              <a:gd name="T55" fmla="*/ 38 h 167"/>
              <a:gd name="T56" fmla="*/ 25 w 140"/>
              <a:gd name="T57" fmla="*/ 36 h 167"/>
              <a:gd name="T58" fmla="*/ 30 w 140"/>
              <a:gd name="T59" fmla="*/ 34 h 167"/>
              <a:gd name="T60" fmla="*/ 35 w 140"/>
              <a:gd name="T61" fmla="*/ 30 h 167"/>
              <a:gd name="T62" fmla="*/ 33 w 140"/>
              <a:gd name="T63" fmla="*/ 27 h 167"/>
              <a:gd name="T64" fmla="*/ 30 w 140"/>
              <a:gd name="T65" fmla="*/ 24 h 167"/>
              <a:gd name="T66" fmla="*/ 30 w 140"/>
              <a:gd name="T67" fmla="*/ 21 h 167"/>
              <a:gd name="T68" fmla="*/ 35 w 140"/>
              <a:gd name="T69" fmla="*/ 20 h 167"/>
              <a:gd name="T70" fmla="*/ 31 w 140"/>
              <a:gd name="T71" fmla="*/ 15 h 167"/>
              <a:gd name="T72" fmla="*/ 26 w 140"/>
              <a:gd name="T73" fmla="*/ 10 h 167"/>
              <a:gd name="T74" fmla="*/ 21 w 140"/>
              <a:gd name="T75" fmla="*/ 7 h 167"/>
              <a:gd name="T76" fmla="*/ 18 w 140"/>
              <a:gd name="T77" fmla="*/ 6 h 167"/>
              <a:gd name="T78" fmla="*/ 15 w 140"/>
              <a:gd name="T79" fmla="*/ 6 h 167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40"/>
              <a:gd name="T121" fmla="*/ 0 h 167"/>
              <a:gd name="T122" fmla="*/ 140 w 140"/>
              <a:gd name="T123" fmla="*/ 167 h 167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40" h="167">
                <a:moveTo>
                  <a:pt x="60" y="21"/>
                </a:moveTo>
                <a:lnTo>
                  <a:pt x="52" y="17"/>
                </a:lnTo>
                <a:lnTo>
                  <a:pt x="46" y="12"/>
                </a:lnTo>
                <a:lnTo>
                  <a:pt x="39" y="4"/>
                </a:lnTo>
                <a:lnTo>
                  <a:pt x="23" y="0"/>
                </a:lnTo>
                <a:lnTo>
                  <a:pt x="12" y="4"/>
                </a:lnTo>
                <a:lnTo>
                  <a:pt x="4" y="8"/>
                </a:lnTo>
                <a:lnTo>
                  <a:pt x="0" y="12"/>
                </a:lnTo>
                <a:lnTo>
                  <a:pt x="0" y="21"/>
                </a:lnTo>
                <a:lnTo>
                  <a:pt x="4" y="29"/>
                </a:lnTo>
                <a:lnTo>
                  <a:pt x="12" y="37"/>
                </a:lnTo>
                <a:lnTo>
                  <a:pt x="27" y="40"/>
                </a:lnTo>
                <a:lnTo>
                  <a:pt x="12" y="48"/>
                </a:lnTo>
                <a:lnTo>
                  <a:pt x="8" y="50"/>
                </a:lnTo>
                <a:lnTo>
                  <a:pt x="4" y="58"/>
                </a:lnTo>
                <a:lnTo>
                  <a:pt x="8" y="65"/>
                </a:lnTo>
                <a:lnTo>
                  <a:pt x="12" y="73"/>
                </a:lnTo>
                <a:lnTo>
                  <a:pt x="27" y="86"/>
                </a:lnTo>
                <a:lnTo>
                  <a:pt x="42" y="102"/>
                </a:lnTo>
                <a:lnTo>
                  <a:pt x="56" y="108"/>
                </a:lnTo>
                <a:lnTo>
                  <a:pt x="48" y="115"/>
                </a:lnTo>
                <a:lnTo>
                  <a:pt x="39" y="119"/>
                </a:lnTo>
                <a:lnTo>
                  <a:pt x="46" y="134"/>
                </a:lnTo>
                <a:lnTo>
                  <a:pt x="52" y="144"/>
                </a:lnTo>
                <a:lnTo>
                  <a:pt x="56" y="156"/>
                </a:lnTo>
                <a:lnTo>
                  <a:pt x="63" y="167"/>
                </a:lnTo>
                <a:lnTo>
                  <a:pt x="71" y="159"/>
                </a:lnTo>
                <a:lnTo>
                  <a:pt x="79" y="152"/>
                </a:lnTo>
                <a:lnTo>
                  <a:pt x="102" y="144"/>
                </a:lnTo>
                <a:lnTo>
                  <a:pt x="121" y="134"/>
                </a:lnTo>
                <a:lnTo>
                  <a:pt x="140" y="119"/>
                </a:lnTo>
                <a:lnTo>
                  <a:pt x="129" y="106"/>
                </a:lnTo>
                <a:lnTo>
                  <a:pt x="121" y="94"/>
                </a:lnTo>
                <a:lnTo>
                  <a:pt x="121" y="83"/>
                </a:lnTo>
                <a:lnTo>
                  <a:pt x="140" y="79"/>
                </a:lnTo>
                <a:lnTo>
                  <a:pt x="125" y="58"/>
                </a:lnTo>
                <a:lnTo>
                  <a:pt x="106" y="37"/>
                </a:lnTo>
                <a:lnTo>
                  <a:pt x="87" y="25"/>
                </a:lnTo>
                <a:lnTo>
                  <a:pt x="75" y="21"/>
                </a:lnTo>
                <a:lnTo>
                  <a:pt x="60" y="21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52" name="Freeform 498"/>
          <p:cNvSpPr>
            <a:spLocks/>
          </p:cNvSpPr>
          <p:nvPr/>
        </p:nvSpPr>
        <p:spPr bwMode="gray">
          <a:xfrm>
            <a:off x="5500779" y="2735310"/>
            <a:ext cx="49360" cy="21788"/>
          </a:xfrm>
          <a:custGeom>
            <a:avLst/>
            <a:gdLst>
              <a:gd name="T0" fmla="*/ 9 w 128"/>
              <a:gd name="T1" fmla="*/ 0 h 58"/>
              <a:gd name="T2" fmla="*/ 5 w 128"/>
              <a:gd name="T3" fmla="*/ 1 h 58"/>
              <a:gd name="T4" fmla="*/ 2 w 128"/>
              <a:gd name="T5" fmla="*/ 3 h 58"/>
              <a:gd name="T6" fmla="*/ 1 w 128"/>
              <a:gd name="T7" fmla="*/ 7 h 58"/>
              <a:gd name="T8" fmla="*/ 0 w 128"/>
              <a:gd name="T9" fmla="*/ 9 h 58"/>
              <a:gd name="T10" fmla="*/ 1 w 128"/>
              <a:gd name="T11" fmla="*/ 11 h 58"/>
              <a:gd name="T12" fmla="*/ 1 w 128"/>
              <a:gd name="T13" fmla="*/ 13 h 58"/>
              <a:gd name="T14" fmla="*/ 3 w 128"/>
              <a:gd name="T15" fmla="*/ 14 h 58"/>
              <a:gd name="T16" fmla="*/ 5 w 128"/>
              <a:gd name="T17" fmla="*/ 14 h 58"/>
              <a:gd name="T18" fmla="*/ 14 w 128"/>
              <a:gd name="T19" fmla="*/ 14 h 58"/>
              <a:gd name="T20" fmla="*/ 19 w 128"/>
              <a:gd name="T21" fmla="*/ 13 h 58"/>
              <a:gd name="T22" fmla="*/ 22 w 128"/>
              <a:gd name="T23" fmla="*/ 11 h 58"/>
              <a:gd name="T24" fmla="*/ 26 w 128"/>
              <a:gd name="T25" fmla="*/ 9 h 58"/>
              <a:gd name="T26" fmla="*/ 28 w 128"/>
              <a:gd name="T27" fmla="*/ 7 h 58"/>
              <a:gd name="T28" fmla="*/ 30 w 128"/>
              <a:gd name="T29" fmla="*/ 4 h 58"/>
              <a:gd name="T30" fmla="*/ 32 w 128"/>
              <a:gd name="T31" fmla="*/ 0 h 58"/>
              <a:gd name="T32" fmla="*/ 26 w 128"/>
              <a:gd name="T33" fmla="*/ 0 h 58"/>
              <a:gd name="T34" fmla="*/ 20 w 128"/>
              <a:gd name="T35" fmla="*/ 0 h 58"/>
              <a:gd name="T36" fmla="*/ 9 w 128"/>
              <a:gd name="T37" fmla="*/ 0 h 58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28"/>
              <a:gd name="T58" fmla="*/ 0 h 58"/>
              <a:gd name="T59" fmla="*/ 128 w 128"/>
              <a:gd name="T60" fmla="*/ 58 h 58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28" h="58">
                <a:moveTo>
                  <a:pt x="36" y="0"/>
                </a:moveTo>
                <a:lnTo>
                  <a:pt x="23" y="6"/>
                </a:lnTo>
                <a:lnTo>
                  <a:pt x="11" y="13"/>
                </a:lnTo>
                <a:lnTo>
                  <a:pt x="4" y="29"/>
                </a:lnTo>
                <a:lnTo>
                  <a:pt x="0" y="38"/>
                </a:lnTo>
                <a:lnTo>
                  <a:pt x="4" y="46"/>
                </a:lnTo>
                <a:lnTo>
                  <a:pt x="7" y="54"/>
                </a:lnTo>
                <a:lnTo>
                  <a:pt x="15" y="58"/>
                </a:lnTo>
                <a:lnTo>
                  <a:pt x="23" y="58"/>
                </a:lnTo>
                <a:lnTo>
                  <a:pt x="59" y="58"/>
                </a:lnTo>
                <a:lnTo>
                  <a:pt x="78" y="54"/>
                </a:lnTo>
                <a:lnTo>
                  <a:pt x="90" y="46"/>
                </a:lnTo>
                <a:lnTo>
                  <a:pt x="105" y="38"/>
                </a:lnTo>
                <a:lnTo>
                  <a:pt x="113" y="29"/>
                </a:lnTo>
                <a:lnTo>
                  <a:pt x="121" y="17"/>
                </a:lnTo>
                <a:lnTo>
                  <a:pt x="128" y="2"/>
                </a:lnTo>
                <a:lnTo>
                  <a:pt x="105" y="0"/>
                </a:lnTo>
                <a:lnTo>
                  <a:pt x="82" y="0"/>
                </a:lnTo>
                <a:lnTo>
                  <a:pt x="36" y="0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53" name="Freeform 499"/>
          <p:cNvSpPr>
            <a:spLocks/>
          </p:cNvSpPr>
          <p:nvPr/>
        </p:nvSpPr>
        <p:spPr bwMode="gray">
          <a:xfrm>
            <a:off x="5365041" y="2737644"/>
            <a:ext cx="26993" cy="42798"/>
          </a:xfrm>
          <a:custGeom>
            <a:avLst/>
            <a:gdLst>
              <a:gd name="T0" fmla="*/ 18 w 70"/>
              <a:gd name="T1" fmla="*/ 25 h 109"/>
              <a:gd name="T2" fmla="*/ 17 w 70"/>
              <a:gd name="T3" fmla="*/ 26 h 109"/>
              <a:gd name="T4" fmla="*/ 15 w 70"/>
              <a:gd name="T5" fmla="*/ 28 h 109"/>
              <a:gd name="T6" fmla="*/ 12 w 70"/>
              <a:gd name="T7" fmla="*/ 28 h 109"/>
              <a:gd name="T8" fmla="*/ 9 w 70"/>
              <a:gd name="T9" fmla="*/ 27 h 109"/>
              <a:gd name="T10" fmla="*/ 6 w 70"/>
              <a:gd name="T11" fmla="*/ 25 h 109"/>
              <a:gd name="T12" fmla="*/ 5 w 70"/>
              <a:gd name="T13" fmla="*/ 22 h 109"/>
              <a:gd name="T14" fmla="*/ 4 w 70"/>
              <a:gd name="T15" fmla="*/ 18 h 109"/>
              <a:gd name="T16" fmla="*/ 0 w 70"/>
              <a:gd name="T17" fmla="*/ 4 h 109"/>
              <a:gd name="T18" fmla="*/ 0 w 70"/>
              <a:gd name="T19" fmla="*/ 0 h 109"/>
              <a:gd name="T20" fmla="*/ 2 w 70"/>
              <a:gd name="T21" fmla="*/ 1 h 109"/>
              <a:gd name="T22" fmla="*/ 5 w 70"/>
              <a:gd name="T23" fmla="*/ 4 h 109"/>
              <a:gd name="T24" fmla="*/ 10 w 70"/>
              <a:gd name="T25" fmla="*/ 11 h 109"/>
              <a:gd name="T26" fmla="*/ 15 w 70"/>
              <a:gd name="T27" fmla="*/ 19 h 109"/>
              <a:gd name="T28" fmla="*/ 17 w 70"/>
              <a:gd name="T29" fmla="*/ 22 h 109"/>
              <a:gd name="T30" fmla="*/ 18 w 70"/>
              <a:gd name="T31" fmla="*/ 25 h 10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70"/>
              <a:gd name="T49" fmla="*/ 0 h 109"/>
              <a:gd name="T50" fmla="*/ 70 w 70"/>
              <a:gd name="T51" fmla="*/ 109 h 109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70" h="109">
                <a:moveTo>
                  <a:pt x="70" y="98"/>
                </a:moveTo>
                <a:lnTo>
                  <a:pt x="66" y="101"/>
                </a:lnTo>
                <a:lnTo>
                  <a:pt x="62" y="109"/>
                </a:lnTo>
                <a:lnTo>
                  <a:pt x="50" y="109"/>
                </a:lnTo>
                <a:lnTo>
                  <a:pt x="39" y="105"/>
                </a:lnTo>
                <a:lnTo>
                  <a:pt x="27" y="98"/>
                </a:lnTo>
                <a:lnTo>
                  <a:pt x="20" y="88"/>
                </a:lnTo>
                <a:lnTo>
                  <a:pt x="16" y="71"/>
                </a:lnTo>
                <a:lnTo>
                  <a:pt x="0" y="13"/>
                </a:lnTo>
                <a:lnTo>
                  <a:pt x="0" y="0"/>
                </a:lnTo>
                <a:lnTo>
                  <a:pt x="8" y="4"/>
                </a:lnTo>
                <a:lnTo>
                  <a:pt x="20" y="13"/>
                </a:lnTo>
                <a:lnTo>
                  <a:pt x="43" y="42"/>
                </a:lnTo>
                <a:lnTo>
                  <a:pt x="62" y="75"/>
                </a:lnTo>
                <a:lnTo>
                  <a:pt x="66" y="88"/>
                </a:lnTo>
                <a:lnTo>
                  <a:pt x="70" y="98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54" name="Freeform 500"/>
          <p:cNvSpPr>
            <a:spLocks/>
          </p:cNvSpPr>
          <p:nvPr/>
        </p:nvSpPr>
        <p:spPr bwMode="gray">
          <a:xfrm>
            <a:off x="5271720" y="2783555"/>
            <a:ext cx="96406" cy="134619"/>
          </a:xfrm>
          <a:custGeom>
            <a:avLst/>
            <a:gdLst>
              <a:gd name="T0" fmla="*/ 5 w 249"/>
              <a:gd name="T1" fmla="*/ 84 h 345"/>
              <a:gd name="T2" fmla="*/ 16 w 249"/>
              <a:gd name="T3" fmla="*/ 80 h 345"/>
              <a:gd name="T4" fmla="*/ 29 w 249"/>
              <a:gd name="T5" fmla="*/ 80 h 345"/>
              <a:gd name="T6" fmla="*/ 36 w 249"/>
              <a:gd name="T7" fmla="*/ 80 h 345"/>
              <a:gd name="T8" fmla="*/ 37 w 249"/>
              <a:gd name="T9" fmla="*/ 83 h 345"/>
              <a:gd name="T10" fmla="*/ 41 w 249"/>
              <a:gd name="T11" fmla="*/ 85 h 345"/>
              <a:gd name="T12" fmla="*/ 46 w 249"/>
              <a:gd name="T13" fmla="*/ 83 h 345"/>
              <a:gd name="T14" fmla="*/ 54 w 249"/>
              <a:gd name="T15" fmla="*/ 75 h 345"/>
              <a:gd name="T16" fmla="*/ 60 w 249"/>
              <a:gd name="T17" fmla="*/ 64 h 345"/>
              <a:gd name="T18" fmla="*/ 63 w 249"/>
              <a:gd name="T19" fmla="*/ 51 h 345"/>
              <a:gd name="T20" fmla="*/ 63 w 249"/>
              <a:gd name="T21" fmla="*/ 42 h 345"/>
              <a:gd name="T22" fmla="*/ 56 w 249"/>
              <a:gd name="T23" fmla="*/ 40 h 345"/>
              <a:gd name="T24" fmla="*/ 50 w 249"/>
              <a:gd name="T25" fmla="*/ 40 h 345"/>
              <a:gd name="T26" fmla="*/ 48 w 249"/>
              <a:gd name="T27" fmla="*/ 44 h 345"/>
              <a:gd name="T28" fmla="*/ 48 w 249"/>
              <a:gd name="T29" fmla="*/ 47 h 345"/>
              <a:gd name="T30" fmla="*/ 44 w 249"/>
              <a:gd name="T31" fmla="*/ 45 h 345"/>
              <a:gd name="T32" fmla="*/ 38 w 249"/>
              <a:gd name="T33" fmla="*/ 45 h 345"/>
              <a:gd name="T34" fmla="*/ 36 w 249"/>
              <a:gd name="T35" fmla="*/ 44 h 345"/>
              <a:gd name="T36" fmla="*/ 38 w 249"/>
              <a:gd name="T37" fmla="*/ 42 h 345"/>
              <a:gd name="T38" fmla="*/ 41 w 249"/>
              <a:gd name="T39" fmla="*/ 38 h 345"/>
              <a:gd name="T40" fmla="*/ 39 w 249"/>
              <a:gd name="T41" fmla="*/ 36 h 345"/>
              <a:gd name="T42" fmla="*/ 33 w 249"/>
              <a:gd name="T43" fmla="*/ 34 h 345"/>
              <a:gd name="T44" fmla="*/ 31 w 249"/>
              <a:gd name="T45" fmla="*/ 32 h 345"/>
              <a:gd name="T46" fmla="*/ 34 w 249"/>
              <a:gd name="T47" fmla="*/ 28 h 345"/>
              <a:gd name="T48" fmla="*/ 36 w 249"/>
              <a:gd name="T49" fmla="*/ 25 h 345"/>
              <a:gd name="T50" fmla="*/ 35 w 249"/>
              <a:gd name="T51" fmla="*/ 22 h 345"/>
              <a:gd name="T52" fmla="*/ 32 w 249"/>
              <a:gd name="T53" fmla="*/ 20 h 345"/>
              <a:gd name="T54" fmla="*/ 31 w 249"/>
              <a:gd name="T55" fmla="*/ 16 h 345"/>
              <a:gd name="T56" fmla="*/ 32 w 249"/>
              <a:gd name="T57" fmla="*/ 5 h 345"/>
              <a:gd name="T58" fmla="*/ 30 w 249"/>
              <a:gd name="T59" fmla="*/ 1 h 345"/>
              <a:gd name="T60" fmla="*/ 24 w 249"/>
              <a:gd name="T61" fmla="*/ 8 h 345"/>
              <a:gd name="T62" fmla="*/ 17 w 249"/>
              <a:gd name="T63" fmla="*/ 18 h 345"/>
              <a:gd name="T64" fmla="*/ 12 w 249"/>
              <a:gd name="T65" fmla="*/ 20 h 345"/>
              <a:gd name="T66" fmla="*/ 18 w 249"/>
              <a:gd name="T67" fmla="*/ 25 h 345"/>
              <a:gd name="T68" fmla="*/ 22 w 249"/>
              <a:gd name="T69" fmla="*/ 32 h 345"/>
              <a:gd name="T70" fmla="*/ 18 w 249"/>
              <a:gd name="T71" fmla="*/ 36 h 345"/>
              <a:gd name="T72" fmla="*/ 15 w 249"/>
              <a:gd name="T73" fmla="*/ 40 h 345"/>
              <a:gd name="T74" fmla="*/ 17 w 249"/>
              <a:gd name="T75" fmla="*/ 44 h 345"/>
              <a:gd name="T76" fmla="*/ 24 w 249"/>
              <a:gd name="T77" fmla="*/ 48 h 345"/>
              <a:gd name="T78" fmla="*/ 26 w 249"/>
              <a:gd name="T79" fmla="*/ 52 h 345"/>
              <a:gd name="T80" fmla="*/ 24 w 249"/>
              <a:gd name="T81" fmla="*/ 56 h 345"/>
              <a:gd name="T82" fmla="*/ 20 w 249"/>
              <a:gd name="T83" fmla="*/ 58 h 345"/>
              <a:gd name="T84" fmla="*/ 0 w 249"/>
              <a:gd name="T85" fmla="*/ 87 h 34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49"/>
              <a:gd name="T130" fmla="*/ 0 h 345"/>
              <a:gd name="T131" fmla="*/ 249 w 249"/>
              <a:gd name="T132" fmla="*/ 345 h 34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49" h="345">
                <a:moveTo>
                  <a:pt x="0" y="345"/>
                </a:moveTo>
                <a:lnTo>
                  <a:pt x="19" y="336"/>
                </a:lnTo>
                <a:lnTo>
                  <a:pt x="38" y="324"/>
                </a:lnTo>
                <a:lnTo>
                  <a:pt x="61" y="317"/>
                </a:lnTo>
                <a:lnTo>
                  <a:pt x="84" y="317"/>
                </a:lnTo>
                <a:lnTo>
                  <a:pt x="113" y="317"/>
                </a:lnTo>
                <a:lnTo>
                  <a:pt x="124" y="317"/>
                </a:lnTo>
                <a:lnTo>
                  <a:pt x="144" y="317"/>
                </a:lnTo>
                <a:lnTo>
                  <a:pt x="144" y="324"/>
                </a:lnTo>
                <a:lnTo>
                  <a:pt x="147" y="332"/>
                </a:lnTo>
                <a:lnTo>
                  <a:pt x="155" y="336"/>
                </a:lnTo>
                <a:lnTo>
                  <a:pt x="163" y="340"/>
                </a:lnTo>
                <a:lnTo>
                  <a:pt x="174" y="336"/>
                </a:lnTo>
                <a:lnTo>
                  <a:pt x="182" y="332"/>
                </a:lnTo>
                <a:lnTo>
                  <a:pt x="201" y="320"/>
                </a:lnTo>
                <a:lnTo>
                  <a:pt x="213" y="299"/>
                </a:lnTo>
                <a:lnTo>
                  <a:pt x="228" y="278"/>
                </a:lnTo>
                <a:lnTo>
                  <a:pt x="239" y="253"/>
                </a:lnTo>
                <a:lnTo>
                  <a:pt x="245" y="226"/>
                </a:lnTo>
                <a:lnTo>
                  <a:pt x="249" y="201"/>
                </a:lnTo>
                <a:lnTo>
                  <a:pt x="249" y="184"/>
                </a:lnTo>
                <a:lnTo>
                  <a:pt x="249" y="167"/>
                </a:lnTo>
                <a:lnTo>
                  <a:pt x="236" y="163"/>
                </a:lnTo>
                <a:lnTo>
                  <a:pt x="224" y="159"/>
                </a:lnTo>
                <a:lnTo>
                  <a:pt x="213" y="159"/>
                </a:lnTo>
                <a:lnTo>
                  <a:pt x="197" y="159"/>
                </a:lnTo>
                <a:lnTo>
                  <a:pt x="193" y="167"/>
                </a:lnTo>
                <a:lnTo>
                  <a:pt x="190" y="173"/>
                </a:lnTo>
                <a:lnTo>
                  <a:pt x="190" y="184"/>
                </a:lnTo>
                <a:lnTo>
                  <a:pt x="190" y="188"/>
                </a:lnTo>
                <a:lnTo>
                  <a:pt x="186" y="196"/>
                </a:lnTo>
                <a:lnTo>
                  <a:pt x="174" y="180"/>
                </a:lnTo>
                <a:lnTo>
                  <a:pt x="163" y="173"/>
                </a:lnTo>
                <a:lnTo>
                  <a:pt x="151" y="180"/>
                </a:lnTo>
                <a:lnTo>
                  <a:pt x="144" y="180"/>
                </a:lnTo>
                <a:lnTo>
                  <a:pt x="144" y="176"/>
                </a:lnTo>
                <a:lnTo>
                  <a:pt x="144" y="169"/>
                </a:lnTo>
                <a:lnTo>
                  <a:pt x="151" y="167"/>
                </a:lnTo>
                <a:lnTo>
                  <a:pt x="159" y="159"/>
                </a:lnTo>
                <a:lnTo>
                  <a:pt x="163" y="151"/>
                </a:lnTo>
                <a:lnTo>
                  <a:pt x="159" y="144"/>
                </a:lnTo>
                <a:lnTo>
                  <a:pt x="155" y="144"/>
                </a:lnTo>
                <a:lnTo>
                  <a:pt x="144" y="136"/>
                </a:lnTo>
                <a:lnTo>
                  <a:pt x="132" y="134"/>
                </a:lnTo>
                <a:lnTo>
                  <a:pt x="128" y="130"/>
                </a:lnTo>
                <a:lnTo>
                  <a:pt x="124" y="126"/>
                </a:lnTo>
                <a:lnTo>
                  <a:pt x="128" y="119"/>
                </a:lnTo>
                <a:lnTo>
                  <a:pt x="136" y="111"/>
                </a:lnTo>
                <a:lnTo>
                  <a:pt x="140" y="105"/>
                </a:lnTo>
                <a:lnTo>
                  <a:pt x="144" y="98"/>
                </a:lnTo>
                <a:lnTo>
                  <a:pt x="144" y="90"/>
                </a:lnTo>
                <a:lnTo>
                  <a:pt x="140" y="86"/>
                </a:lnTo>
                <a:lnTo>
                  <a:pt x="132" y="82"/>
                </a:lnTo>
                <a:lnTo>
                  <a:pt x="128" y="79"/>
                </a:lnTo>
                <a:lnTo>
                  <a:pt x="124" y="73"/>
                </a:lnTo>
                <a:lnTo>
                  <a:pt x="124" y="61"/>
                </a:lnTo>
                <a:lnTo>
                  <a:pt x="124" y="40"/>
                </a:lnTo>
                <a:lnTo>
                  <a:pt x="128" y="19"/>
                </a:lnTo>
                <a:lnTo>
                  <a:pt x="128" y="0"/>
                </a:lnTo>
                <a:lnTo>
                  <a:pt x="117" y="4"/>
                </a:lnTo>
                <a:lnTo>
                  <a:pt x="109" y="11"/>
                </a:lnTo>
                <a:lnTo>
                  <a:pt x="96" y="29"/>
                </a:lnTo>
                <a:lnTo>
                  <a:pt x="80" y="50"/>
                </a:lnTo>
                <a:lnTo>
                  <a:pt x="65" y="69"/>
                </a:lnTo>
                <a:lnTo>
                  <a:pt x="42" y="65"/>
                </a:lnTo>
                <a:lnTo>
                  <a:pt x="46" y="77"/>
                </a:lnTo>
                <a:lnTo>
                  <a:pt x="53" y="82"/>
                </a:lnTo>
                <a:lnTo>
                  <a:pt x="69" y="98"/>
                </a:lnTo>
                <a:lnTo>
                  <a:pt x="84" y="115"/>
                </a:lnTo>
                <a:lnTo>
                  <a:pt x="88" y="126"/>
                </a:lnTo>
                <a:lnTo>
                  <a:pt x="92" y="136"/>
                </a:lnTo>
                <a:lnTo>
                  <a:pt x="72" y="144"/>
                </a:lnTo>
                <a:lnTo>
                  <a:pt x="61" y="151"/>
                </a:lnTo>
                <a:lnTo>
                  <a:pt x="57" y="159"/>
                </a:lnTo>
                <a:lnTo>
                  <a:pt x="61" y="167"/>
                </a:lnTo>
                <a:lnTo>
                  <a:pt x="65" y="173"/>
                </a:lnTo>
                <a:lnTo>
                  <a:pt x="80" y="180"/>
                </a:lnTo>
                <a:lnTo>
                  <a:pt x="96" y="192"/>
                </a:lnTo>
                <a:lnTo>
                  <a:pt x="103" y="198"/>
                </a:lnTo>
                <a:lnTo>
                  <a:pt x="103" y="205"/>
                </a:lnTo>
                <a:lnTo>
                  <a:pt x="103" y="217"/>
                </a:lnTo>
                <a:lnTo>
                  <a:pt x="96" y="224"/>
                </a:lnTo>
                <a:lnTo>
                  <a:pt x="88" y="226"/>
                </a:lnTo>
                <a:lnTo>
                  <a:pt x="80" y="230"/>
                </a:lnTo>
                <a:lnTo>
                  <a:pt x="19" y="205"/>
                </a:lnTo>
                <a:lnTo>
                  <a:pt x="0" y="345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55" name="Freeform 501"/>
          <p:cNvSpPr>
            <a:spLocks/>
          </p:cNvSpPr>
          <p:nvPr/>
        </p:nvSpPr>
        <p:spPr bwMode="gray">
          <a:xfrm>
            <a:off x="5265551" y="2706519"/>
            <a:ext cx="53987" cy="43576"/>
          </a:xfrm>
          <a:custGeom>
            <a:avLst/>
            <a:gdLst>
              <a:gd name="T0" fmla="*/ 0 w 140"/>
              <a:gd name="T1" fmla="*/ 8 h 111"/>
              <a:gd name="T2" fmla="*/ 2 w 140"/>
              <a:gd name="T3" fmla="*/ 5 h 111"/>
              <a:gd name="T4" fmla="*/ 4 w 140"/>
              <a:gd name="T5" fmla="*/ 3 h 111"/>
              <a:gd name="T6" fmla="*/ 9 w 140"/>
              <a:gd name="T7" fmla="*/ 0 h 111"/>
              <a:gd name="T8" fmla="*/ 35 w 140"/>
              <a:gd name="T9" fmla="*/ 0 h 111"/>
              <a:gd name="T10" fmla="*/ 35 w 140"/>
              <a:gd name="T11" fmla="*/ 5 h 111"/>
              <a:gd name="T12" fmla="*/ 31 w 140"/>
              <a:gd name="T13" fmla="*/ 8 h 111"/>
              <a:gd name="T14" fmla="*/ 26 w 140"/>
              <a:gd name="T15" fmla="*/ 10 h 111"/>
              <a:gd name="T16" fmla="*/ 16 w 140"/>
              <a:gd name="T17" fmla="*/ 11 h 111"/>
              <a:gd name="T18" fmla="*/ 17 w 140"/>
              <a:gd name="T19" fmla="*/ 13 h 111"/>
              <a:gd name="T20" fmla="*/ 18 w 140"/>
              <a:gd name="T21" fmla="*/ 14 h 111"/>
              <a:gd name="T22" fmla="*/ 23 w 140"/>
              <a:gd name="T23" fmla="*/ 15 h 111"/>
              <a:gd name="T24" fmla="*/ 27 w 140"/>
              <a:gd name="T25" fmla="*/ 16 h 111"/>
              <a:gd name="T26" fmla="*/ 29 w 140"/>
              <a:gd name="T27" fmla="*/ 17 h 111"/>
              <a:gd name="T28" fmla="*/ 29 w 140"/>
              <a:gd name="T29" fmla="*/ 18 h 111"/>
              <a:gd name="T30" fmla="*/ 29 w 140"/>
              <a:gd name="T31" fmla="*/ 20 h 111"/>
              <a:gd name="T32" fmla="*/ 27 w 140"/>
              <a:gd name="T33" fmla="*/ 21 h 111"/>
              <a:gd name="T34" fmla="*/ 22 w 140"/>
              <a:gd name="T35" fmla="*/ 25 h 111"/>
              <a:gd name="T36" fmla="*/ 16 w 140"/>
              <a:gd name="T37" fmla="*/ 27 h 111"/>
              <a:gd name="T38" fmla="*/ 11 w 140"/>
              <a:gd name="T39" fmla="*/ 28 h 111"/>
              <a:gd name="T40" fmla="*/ 9 w 140"/>
              <a:gd name="T41" fmla="*/ 27 h 111"/>
              <a:gd name="T42" fmla="*/ 7 w 140"/>
              <a:gd name="T43" fmla="*/ 27 h 111"/>
              <a:gd name="T44" fmla="*/ 4 w 140"/>
              <a:gd name="T45" fmla="*/ 22 h 111"/>
              <a:gd name="T46" fmla="*/ 1 w 140"/>
              <a:gd name="T47" fmla="*/ 17 h 111"/>
              <a:gd name="T48" fmla="*/ 0 w 140"/>
              <a:gd name="T49" fmla="*/ 13 h 111"/>
              <a:gd name="T50" fmla="*/ 0 w 140"/>
              <a:gd name="T51" fmla="*/ 7 h 111"/>
              <a:gd name="T52" fmla="*/ 0 w 140"/>
              <a:gd name="T53" fmla="*/ 8 h 111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40"/>
              <a:gd name="T82" fmla="*/ 0 h 111"/>
              <a:gd name="T83" fmla="*/ 140 w 140"/>
              <a:gd name="T84" fmla="*/ 111 h 111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40" h="111">
                <a:moveTo>
                  <a:pt x="0" y="29"/>
                </a:moveTo>
                <a:lnTo>
                  <a:pt x="8" y="17"/>
                </a:lnTo>
                <a:lnTo>
                  <a:pt x="16" y="12"/>
                </a:lnTo>
                <a:lnTo>
                  <a:pt x="35" y="0"/>
                </a:lnTo>
                <a:lnTo>
                  <a:pt x="140" y="0"/>
                </a:lnTo>
                <a:lnTo>
                  <a:pt x="140" y="17"/>
                </a:lnTo>
                <a:lnTo>
                  <a:pt x="125" y="29"/>
                </a:lnTo>
                <a:lnTo>
                  <a:pt x="106" y="37"/>
                </a:lnTo>
                <a:lnTo>
                  <a:pt x="64" y="44"/>
                </a:lnTo>
                <a:lnTo>
                  <a:pt x="67" y="50"/>
                </a:lnTo>
                <a:lnTo>
                  <a:pt x="75" y="54"/>
                </a:lnTo>
                <a:lnTo>
                  <a:pt x="94" y="58"/>
                </a:lnTo>
                <a:lnTo>
                  <a:pt x="110" y="62"/>
                </a:lnTo>
                <a:lnTo>
                  <a:pt x="117" y="65"/>
                </a:lnTo>
                <a:lnTo>
                  <a:pt x="117" y="69"/>
                </a:lnTo>
                <a:lnTo>
                  <a:pt x="117" y="77"/>
                </a:lnTo>
                <a:lnTo>
                  <a:pt x="110" y="83"/>
                </a:lnTo>
                <a:lnTo>
                  <a:pt x="90" y="98"/>
                </a:lnTo>
                <a:lnTo>
                  <a:pt x="64" y="108"/>
                </a:lnTo>
                <a:lnTo>
                  <a:pt x="46" y="111"/>
                </a:lnTo>
                <a:lnTo>
                  <a:pt x="39" y="108"/>
                </a:lnTo>
                <a:lnTo>
                  <a:pt x="31" y="106"/>
                </a:lnTo>
                <a:lnTo>
                  <a:pt x="16" y="86"/>
                </a:lnTo>
                <a:lnTo>
                  <a:pt x="4" y="65"/>
                </a:lnTo>
                <a:lnTo>
                  <a:pt x="0" y="50"/>
                </a:lnTo>
                <a:lnTo>
                  <a:pt x="0" y="25"/>
                </a:lnTo>
                <a:lnTo>
                  <a:pt x="0" y="29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56" name="Freeform 502"/>
          <p:cNvSpPr>
            <a:spLocks/>
          </p:cNvSpPr>
          <p:nvPr/>
        </p:nvSpPr>
        <p:spPr bwMode="gray">
          <a:xfrm>
            <a:off x="5270950" y="2667613"/>
            <a:ext cx="63243" cy="24123"/>
          </a:xfrm>
          <a:custGeom>
            <a:avLst/>
            <a:gdLst>
              <a:gd name="T0" fmla="*/ 0 w 163"/>
              <a:gd name="T1" fmla="*/ 12 h 62"/>
              <a:gd name="T2" fmla="*/ 12 w 163"/>
              <a:gd name="T3" fmla="*/ 12 h 62"/>
              <a:gd name="T4" fmla="*/ 15 w 163"/>
              <a:gd name="T5" fmla="*/ 13 h 62"/>
              <a:gd name="T6" fmla="*/ 16 w 163"/>
              <a:gd name="T7" fmla="*/ 14 h 62"/>
              <a:gd name="T8" fmla="*/ 17 w 163"/>
              <a:gd name="T9" fmla="*/ 15 h 62"/>
              <a:gd name="T10" fmla="*/ 19 w 163"/>
              <a:gd name="T11" fmla="*/ 16 h 62"/>
              <a:gd name="T12" fmla="*/ 32 w 163"/>
              <a:gd name="T13" fmla="*/ 16 h 62"/>
              <a:gd name="T14" fmla="*/ 34 w 163"/>
              <a:gd name="T15" fmla="*/ 16 h 62"/>
              <a:gd name="T16" fmla="*/ 37 w 163"/>
              <a:gd name="T17" fmla="*/ 15 h 62"/>
              <a:gd name="T18" fmla="*/ 40 w 163"/>
              <a:gd name="T19" fmla="*/ 13 h 62"/>
              <a:gd name="T20" fmla="*/ 40 w 163"/>
              <a:gd name="T21" fmla="*/ 11 h 62"/>
              <a:gd name="T22" fmla="*/ 41 w 163"/>
              <a:gd name="T23" fmla="*/ 10 h 62"/>
              <a:gd name="T24" fmla="*/ 40 w 163"/>
              <a:gd name="T25" fmla="*/ 4 h 62"/>
              <a:gd name="T26" fmla="*/ 39 w 163"/>
              <a:gd name="T27" fmla="*/ 2 h 62"/>
              <a:gd name="T28" fmla="*/ 37 w 163"/>
              <a:gd name="T29" fmla="*/ 1 h 62"/>
              <a:gd name="T30" fmla="*/ 34 w 163"/>
              <a:gd name="T31" fmla="*/ 0 h 62"/>
              <a:gd name="T32" fmla="*/ 31 w 163"/>
              <a:gd name="T33" fmla="*/ 0 h 62"/>
              <a:gd name="T34" fmla="*/ 26 w 163"/>
              <a:gd name="T35" fmla="*/ 1 h 62"/>
              <a:gd name="T36" fmla="*/ 22 w 163"/>
              <a:gd name="T37" fmla="*/ 2 h 62"/>
              <a:gd name="T38" fmla="*/ 17 w 163"/>
              <a:gd name="T39" fmla="*/ 5 h 62"/>
              <a:gd name="T40" fmla="*/ 11 w 163"/>
              <a:gd name="T41" fmla="*/ 6 h 62"/>
              <a:gd name="T42" fmla="*/ 6 w 163"/>
              <a:gd name="T43" fmla="*/ 7 h 62"/>
              <a:gd name="T44" fmla="*/ 4 w 163"/>
              <a:gd name="T45" fmla="*/ 7 h 62"/>
              <a:gd name="T46" fmla="*/ 2 w 163"/>
              <a:gd name="T47" fmla="*/ 9 h 62"/>
              <a:gd name="T48" fmla="*/ 1 w 163"/>
              <a:gd name="T49" fmla="*/ 11 h 62"/>
              <a:gd name="T50" fmla="*/ 0 w 163"/>
              <a:gd name="T51" fmla="*/ 12 h 6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63"/>
              <a:gd name="T79" fmla="*/ 0 h 62"/>
              <a:gd name="T80" fmla="*/ 163 w 163"/>
              <a:gd name="T81" fmla="*/ 62 h 62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63" h="62">
                <a:moveTo>
                  <a:pt x="0" y="48"/>
                </a:moveTo>
                <a:lnTo>
                  <a:pt x="46" y="48"/>
                </a:lnTo>
                <a:lnTo>
                  <a:pt x="57" y="52"/>
                </a:lnTo>
                <a:lnTo>
                  <a:pt x="61" y="54"/>
                </a:lnTo>
                <a:lnTo>
                  <a:pt x="65" y="58"/>
                </a:lnTo>
                <a:lnTo>
                  <a:pt x="74" y="62"/>
                </a:lnTo>
                <a:lnTo>
                  <a:pt x="128" y="62"/>
                </a:lnTo>
                <a:lnTo>
                  <a:pt x="136" y="62"/>
                </a:lnTo>
                <a:lnTo>
                  <a:pt x="147" y="58"/>
                </a:lnTo>
                <a:lnTo>
                  <a:pt x="159" y="52"/>
                </a:lnTo>
                <a:lnTo>
                  <a:pt x="159" y="44"/>
                </a:lnTo>
                <a:lnTo>
                  <a:pt x="163" y="37"/>
                </a:lnTo>
                <a:lnTo>
                  <a:pt x="159" y="16"/>
                </a:lnTo>
                <a:lnTo>
                  <a:pt x="155" y="8"/>
                </a:lnTo>
                <a:lnTo>
                  <a:pt x="147" y="4"/>
                </a:lnTo>
                <a:lnTo>
                  <a:pt x="136" y="0"/>
                </a:lnTo>
                <a:lnTo>
                  <a:pt x="121" y="0"/>
                </a:lnTo>
                <a:lnTo>
                  <a:pt x="101" y="4"/>
                </a:lnTo>
                <a:lnTo>
                  <a:pt x="86" y="8"/>
                </a:lnTo>
                <a:lnTo>
                  <a:pt x="65" y="18"/>
                </a:lnTo>
                <a:lnTo>
                  <a:pt x="42" y="21"/>
                </a:lnTo>
                <a:lnTo>
                  <a:pt x="23" y="25"/>
                </a:lnTo>
                <a:lnTo>
                  <a:pt x="15" y="25"/>
                </a:lnTo>
                <a:lnTo>
                  <a:pt x="7" y="33"/>
                </a:lnTo>
                <a:lnTo>
                  <a:pt x="3" y="41"/>
                </a:lnTo>
                <a:lnTo>
                  <a:pt x="0" y="48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57" name="Freeform 503"/>
          <p:cNvSpPr>
            <a:spLocks/>
          </p:cNvSpPr>
          <p:nvPr/>
        </p:nvSpPr>
        <p:spPr bwMode="gray">
          <a:xfrm>
            <a:off x="5067341" y="3017776"/>
            <a:ext cx="374825" cy="293359"/>
          </a:xfrm>
          <a:custGeom>
            <a:avLst/>
            <a:gdLst>
              <a:gd name="T0" fmla="*/ 121 w 971"/>
              <a:gd name="T1" fmla="*/ 26 h 754"/>
              <a:gd name="T2" fmla="*/ 127 w 971"/>
              <a:gd name="T3" fmla="*/ 27 h 754"/>
              <a:gd name="T4" fmla="*/ 128 w 971"/>
              <a:gd name="T5" fmla="*/ 20 h 754"/>
              <a:gd name="T6" fmla="*/ 119 w 971"/>
              <a:gd name="T7" fmla="*/ 12 h 754"/>
              <a:gd name="T8" fmla="*/ 118 w 971"/>
              <a:gd name="T9" fmla="*/ 7 h 754"/>
              <a:gd name="T10" fmla="*/ 126 w 971"/>
              <a:gd name="T11" fmla="*/ 7 h 754"/>
              <a:gd name="T12" fmla="*/ 136 w 971"/>
              <a:gd name="T13" fmla="*/ 14 h 754"/>
              <a:gd name="T14" fmla="*/ 140 w 971"/>
              <a:gd name="T15" fmla="*/ 31 h 754"/>
              <a:gd name="T16" fmla="*/ 144 w 971"/>
              <a:gd name="T17" fmla="*/ 61 h 754"/>
              <a:gd name="T18" fmla="*/ 148 w 971"/>
              <a:gd name="T19" fmla="*/ 69 h 754"/>
              <a:gd name="T20" fmla="*/ 153 w 971"/>
              <a:gd name="T21" fmla="*/ 59 h 754"/>
              <a:gd name="T22" fmla="*/ 151 w 971"/>
              <a:gd name="T23" fmla="*/ 38 h 754"/>
              <a:gd name="T24" fmla="*/ 150 w 971"/>
              <a:gd name="T25" fmla="*/ 7 h 754"/>
              <a:gd name="T26" fmla="*/ 159 w 971"/>
              <a:gd name="T27" fmla="*/ 3 h 754"/>
              <a:gd name="T28" fmla="*/ 171 w 971"/>
              <a:gd name="T29" fmla="*/ 6 h 754"/>
              <a:gd name="T30" fmla="*/ 179 w 971"/>
              <a:gd name="T31" fmla="*/ 12 h 754"/>
              <a:gd name="T32" fmla="*/ 185 w 971"/>
              <a:gd name="T33" fmla="*/ 29 h 754"/>
              <a:gd name="T34" fmla="*/ 194 w 971"/>
              <a:gd name="T35" fmla="*/ 68 h 754"/>
              <a:gd name="T36" fmla="*/ 195 w 971"/>
              <a:gd name="T37" fmla="*/ 87 h 754"/>
              <a:gd name="T38" fmla="*/ 189 w 971"/>
              <a:gd name="T39" fmla="*/ 94 h 754"/>
              <a:gd name="T40" fmla="*/ 196 w 971"/>
              <a:gd name="T41" fmla="*/ 101 h 754"/>
              <a:gd name="T42" fmla="*/ 198 w 971"/>
              <a:gd name="T43" fmla="*/ 107 h 754"/>
              <a:gd name="T44" fmla="*/ 205 w 971"/>
              <a:gd name="T45" fmla="*/ 114 h 754"/>
              <a:gd name="T46" fmla="*/ 219 w 971"/>
              <a:gd name="T47" fmla="*/ 122 h 754"/>
              <a:gd name="T48" fmla="*/ 231 w 971"/>
              <a:gd name="T49" fmla="*/ 131 h 754"/>
              <a:gd name="T50" fmla="*/ 242 w 971"/>
              <a:gd name="T51" fmla="*/ 137 h 754"/>
              <a:gd name="T52" fmla="*/ 243 w 971"/>
              <a:gd name="T53" fmla="*/ 149 h 754"/>
              <a:gd name="T54" fmla="*/ 237 w 971"/>
              <a:gd name="T55" fmla="*/ 153 h 754"/>
              <a:gd name="T56" fmla="*/ 232 w 971"/>
              <a:gd name="T57" fmla="*/ 150 h 754"/>
              <a:gd name="T58" fmla="*/ 225 w 971"/>
              <a:gd name="T59" fmla="*/ 151 h 754"/>
              <a:gd name="T60" fmla="*/ 220 w 971"/>
              <a:gd name="T61" fmla="*/ 149 h 754"/>
              <a:gd name="T62" fmla="*/ 212 w 971"/>
              <a:gd name="T63" fmla="*/ 150 h 754"/>
              <a:gd name="T64" fmla="*/ 205 w 971"/>
              <a:gd name="T65" fmla="*/ 149 h 754"/>
              <a:gd name="T66" fmla="*/ 206 w 971"/>
              <a:gd name="T67" fmla="*/ 160 h 754"/>
              <a:gd name="T68" fmla="*/ 215 w 971"/>
              <a:gd name="T69" fmla="*/ 165 h 754"/>
              <a:gd name="T70" fmla="*/ 223 w 971"/>
              <a:gd name="T71" fmla="*/ 165 h 754"/>
              <a:gd name="T72" fmla="*/ 222 w 971"/>
              <a:gd name="T73" fmla="*/ 171 h 754"/>
              <a:gd name="T74" fmla="*/ 227 w 971"/>
              <a:gd name="T75" fmla="*/ 180 h 754"/>
              <a:gd name="T76" fmla="*/ 213 w 971"/>
              <a:gd name="T77" fmla="*/ 188 h 754"/>
              <a:gd name="T78" fmla="*/ 187 w 971"/>
              <a:gd name="T79" fmla="*/ 186 h 754"/>
              <a:gd name="T80" fmla="*/ 175 w 971"/>
              <a:gd name="T81" fmla="*/ 181 h 754"/>
              <a:gd name="T82" fmla="*/ 178 w 971"/>
              <a:gd name="T83" fmla="*/ 174 h 754"/>
              <a:gd name="T84" fmla="*/ 170 w 971"/>
              <a:gd name="T85" fmla="*/ 169 h 754"/>
              <a:gd name="T86" fmla="*/ 162 w 971"/>
              <a:gd name="T87" fmla="*/ 172 h 754"/>
              <a:gd name="T88" fmla="*/ 157 w 971"/>
              <a:gd name="T89" fmla="*/ 168 h 754"/>
              <a:gd name="T90" fmla="*/ 157 w 971"/>
              <a:gd name="T91" fmla="*/ 162 h 754"/>
              <a:gd name="T92" fmla="*/ 150 w 971"/>
              <a:gd name="T93" fmla="*/ 165 h 754"/>
              <a:gd name="T94" fmla="*/ 145 w 971"/>
              <a:gd name="T95" fmla="*/ 173 h 754"/>
              <a:gd name="T96" fmla="*/ 134 w 971"/>
              <a:gd name="T97" fmla="*/ 175 h 754"/>
              <a:gd name="T98" fmla="*/ 116 w 971"/>
              <a:gd name="T99" fmla="*/ 180 h 754"/>
              <a:gd name="T100" fmla="*/ 96 w 971"/>
              <a:gd name="T101" fmla="*/ 186 h 754"/>
              <a:gd name="T102" fmla="*/ 59 w 971"/>
              <a:gd name="T103" fmla="*/ 183 h 754"/>
              <a:gd name="T104" fmla="*/ 49 w 971"/>
              <a:gd name="T105" fmla="*/ 183 h 754"/>
              <a:gd name="T106" fmla="*/ 44 w 971"/>
              <a:gd name="T107" fmla="*/ 170 h 754"/>
              <a:gd name="T108" fmla="*/ 45 w 971"/>
              <a:gd name="T109" fmla="*/ 161 h 754"/>
              <a:gd name="T110" fmla="*/ 46 w 971"/>
              <a:gd name="T111" fmla="*/ 152 h 754"/>
              <a:gd name="T112" fmla="*/ 36 w 971"/>
              <a:gd name="T113" fmla="*/ 147 h 754"/>
              <a:gd name="T114" fmla="*/ 16 w 971"/>
              <a:gd name="T115" fmla="*/ 141 h 754"/>
              <a:gd name="T116" fmla="*/ 5 w 971"/>
              <a:gd name="T117" fmla="*/ 133 h 754"/>
              <a:gd name="T118" fmla="*/ 0 w 971"/>
              <a:gd name="T119" fmla="*/ 116 h 754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971"/>
              <a:gd name="T181" fmla="*/ 0 h 754"/>
              <a:gd name="T182" fmla="*/ 971 w 971"/>
              <a:gd name="T183" fmla="*/ 754 h 754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971" h="754">
                <a:moveTo>
                  <a:pt x="464" y="99"/>
                </a:moveTo>
                <a:lnTo>
                  <a:pt x="476" y="99"/>
                </a:lnTo>
                <a:lnTo>
                  <a:pt x="483" y="107"/>
                </a:lnTo>
                <a:lnTo>
                  <a:pt x="491" y="111"/>
                </a:lnTo>
                <a:lnTo>
                  <a:pt x="499" y="111"/>
                </a:lnTo>
                <a:lnTo>
                  <a:pt x="507" y="111"/>
                </a:lnTo>
                <a:lnTo>
                  <a:pt x="510" y="103"/>
                </a:lnTo>
                <a:lnTo>
                  <a:pt x="510" y="90"/>
                </a:lnTo>
                <a:lnTo>
                  <a:pt x="510" y="78"/>
                </a:lnTo>
                <a:lnTo>
                  <a:pt x="503" y="71"/>
                </a:lnTo>
                <a:lnTo>
                  <a:pt x="491" y="61"/>
                </a:lnTo>
                <a:lnTo>
                  <a:pt x="476" y="49"/>
                </a:lnTo>
                <a:lnTo>
                  <a:pt x="472" y="42"/>
                </a:lnTo>
                <a:lnTo>
                  <a:pt x="472" y="34"/>
                </a:lnTo>
                <a:lnTo>
                  <a:pt x="472" y="28"/>
                </a:lnTo>
                <a:lnTo>
                  <a:pt x="480" y="28"/>
                </a:lnTo>
                <a:lnTo>
                  <a:pt x="491" y="24"/>
                </a:lnTo>
                <a:lnTo>
                  <a:pt x="503" y="28"/>
                </a:lnTo>
                <a:lnTo>
                  <a:pt x="510" y="32"/>
                </a:lnTo>
                <a:lnTo>
                  <a:pt x="526" y="42"/>
                </a:lnTo>
                <a:lnTo>
                  <a:pt x="541" y="57"/>
                </a:lnTo>
                <a:lnTo>
                  <a:pt x="553" y="67"/>
                </a:lnTo>
                <a:lnTo>
                  <a:pt x="553" y="90"/>
                </a:lnTo>
                <a:lnTo>
                  <a:pt x="560" y="124"/>
                </a:lnTo>
                <a:lnTo>
                  <a:pt x="568" y="161"/>
                </a:lnTo>
                <a:lnTo>
                  <a:pt x="576" y="186"/>
                </a:lnTo>
                <a:lnTo>
                  <a:pt x="576" y="247"/>
                </a:lnTo>
                <a:lnTo>
                  <a:pt x="587" y="262"/>
                </a:lnTo>
                <a:lnTo>
                  <a:pt x="591" y="268"/>
                </a:lnTo>
                <a:lnTo>
                  <a:pt x="591" y="276"/>
                </a:lnTo>
                <a:lnTo>
                  <a:pt x="587" y="293"/>
                </a:lnTo>
                <a:lnTo>
                  <a:pt x="604" y="259"/>
                </a:lnTo>
                <a:lnTo>
                  <a:pt x="612" y="239"/>
                </a:lnTo>
                <a:lnTo>
                  <a:pt x="616" y="226"/>
                </a:lnTo>
                <a:lnTo>
                  <a:pt x="612" y="186"/>
                </a:lnTo>
                <a:lnTo>
                  <a:pt x="604" y="149"/>
                </a:lnTo>
                <a:lnTo>
                  <a:pt x="601" y="95"/>
                </a:lnTo>
                <a:lnTo>
                  <a:pt x="597" y="61"/>
                </a:lnTo>
                <a:lnTo>
                  <a:pt x="597" y="28"/>
                </a:lnTo>
                <a:lnTo>
                  <a:pt x="604" y="0"/>
                </a:lnTo>
                <a:lnTo>
                  <a:pt x="620" y="0"/>
                </a:lnTo>
                <a:lnTo>
                  <a:pt x="635" y="9"/>
                </a:lnTo>
                <a:lnTo>
                  <a:pt x="647" y="13"/>
                </a:lnTo>
                <a:lnTo>
                  <a:pt x="662" y="13"/>
                </a:lnTo>
                <a:lnTo>
                  <a:pt x="681" y="21"/>
                </a:lnTo>
                <a:lnTo>
                  <a:pt x="697" y="28"/>
                </a:lnTo>
                <a:lnTo>
                  <a:pt x="708" y="34"/>
                </a:lnTo>
                <a:lnTo>
                  <a:pt x="716" y="46"/>
                </a:lnTo>
                <a:lnTo>
                  <a:pt x="722" y="57"/>
                </a:lnTo>
                <a:lnTo>
                  <a:pt x="729" y="86"/>
                </a:lnTo>
                <a:lnTo>
                  <a:pt x="737" y="119"/>
                </a:lnTo>
                <a:lnTo>
                  <a:pt x="748" y="176"/>
                </a:lnTo>
                <a:lnTo>
                  <a:pt x="764" y="226"/>
                </a:lnTo>
                <a:lnTo>
                  <a:pt x="775" y="272"/>
                </a:lnTo>
                <a:lnTo>
                  <a:pt x="779" y="301"/>
                </a:lnTo>
                <a:lnTo>
                  <a:pt x="779" y="326"/>
                </a:lnTo>
                <a:lnTo>
                  <a:pt x="779" y="345"/>
                </a:lnTo>
                <a:lnTo>
                  <a:pt x="775" y="358"/>
                </a:lnTo>
                <a:lnTo>
                  <a:pt x="768" y="366"/>
                </a:lnTo>
                <a:lnTo>
                  <a:pt x="756" y="374"/>
                </a:lnTo>
                <a:lnTo>
                  <a:pt x="771" y="387"/>
                </a:lnTo>
                <a:lnTo>
                  <a:pt x="783" y="395"/>
                </a:lnTo>
                <a:lnTo>
                  <a:pt x="783" y="406"/>
                </a:lnTo>
                <a:lnTo>
                  <a:pt x="783" y="412"/>
                </a:lnTo>
                <a:lnTo>
                  <a:pt x="787" y="420"/>
                </a:lnTo>
                <a:lnTo>
                  <a:pt x="791" y="431"/>
                </a:lnTo>
                <a:lnTo>
                  <a:pt x="798" y="441"/>
                </a:lnTo>
                <a:lnTo>
                  <a:pt x="802" y="456"/>
                </a:lnTo>
                <a:lnTo>
                  <a:pt x="817" y="456"/>
                </a:lnTo>
                <a:lnTo>
                  <a:pt x="833" y="460"/>
                </a:lnTo>
                <a:lnTo>
                  <a:pt x="854" y="474"/>
                </a:lnTo>
                <a:lnTo>
                  <a:pt x="873" y="489"/>
                </a:lnTo>
                <a:lnTo>
                  <a:pt x="888" y="506"/>
                </a:lnTo>
                <a:lnTo>
                  <a:pt x="908" y="518"/>
                </a:lnTo>
                <a:lnTo>
                  <a:pt x="923" y="522"/>
                </a:lnTo>
                <a:lnTo>
                  <a:pt x="942" y="527"/>
                </a:lnTo>
                <a:lnTo>
                  <a:pt x="961" y="535"/>
                </a:lnTo>
                <a:lnTo>
                  <a:pt x="967" y="547"/>
                </a:lnTo>
                <a:lnTo>
                  <a:pt x="971" y="552"/>
                </a:lnTo>
                <a:lnTo>
                  <a:pt x="971" y="579"/>
                </a:lnTo>
                <a:lnTo>
                  <a:pt x="971" y="596"/>
                </a:lnTo>
                <a:lnTo>
                  <a:pt x="971" y="600"/>
                </a:lnTo>
                <a:lnTo>
                  <a:pt x="971" y="610"/>
                </a:lnTo>
                <a:lnTo>
                  <a:pt x="946" y="610"/>
                </a:lnTo>
                <a:lnTo>
                  <a:pt x="935" y="608"/>
                </a:lnTo>
                <a:lnTo>
                  <a:pt x="927" y="604"/>
                </a:lnTo>
                <a:lnTo>
                  <a:pt x="927" y="600"/>
                </a:lnTo>
                <a:lnTo>
                  <a:pt x="915" y="604"/>
                </a:lnTo>
                <a:lnTo>
                  <a:pt x="908" y="608"/>
                </a:lnTo>
                <a:lnTo>
                  <a:pt x="900" y="604"/>
                </a:lnTo>
                <a:lnTo>
                  <a:pt x="892" y="600"/>
                </a:lnTo>
                <a:lnTo>
                  <a:pt x="885" y="593"/>
                </a:lnTo>
                <a:lnTo>
                  <a:pt x="877" y="593"/>
                </a:lnTo>
                <a:lnTo>
                  <a:pt x="865" y="593"/>
                </a:lnTo>
                <a:lnTo>
                  <a:pt x="858" y="596"/>
                </a:lnTo>
                <a:lnTo>
                  <a:pt x="846" y="600"/>
                </a:lnTo>
                <a:lnTo>
                  <a:pt x="841" y="600"/>
                </a:lnTo>
                <a:lnTo>
                  <a:pt x="825" y="596"/>
                </a:lnTo>
                <a:lnTo>
                  <a:pt x="817" y="593"/>
                </a:lnTo>
                <a:lnTo>
                  <a:pt x="814" y="610"/>
                </a:lnTo>
                <a:lnTo>
                  <a:pt x="817" y="625"/>
                </a:lnTo>
                <a:lnTo>
                  <a:pt x="821" y="639"/>
                </a:lnTo>
                <a:lnTo>
                  <a:pt x="829" y="654"/>
                </a:lnTo>
                <a:lnTo>
                  <a:pt x="833" y="675"/>
                </a:lnTo>
                <a:lnTo>
                  <a:pt x="858" y="658"/>
                </a:lnTo>
                <a:lnTo>
                  <a:pt x="873" y="650"/>
                </a:lnTo>
                <a:lnTo>
                  <a:pt x="888" y="643"/>
                </a:lnTo>
                <a:lnTo>
                  <a:pt x="892" y="658"/>
                </a:lnTo>
                <a:lnTo>
                  <a:pt x="892" y="666"/>
                </a:lnTo>
                <a:lnTo>
                  <a:pt x="888" y="671"/>
                </a:lnTo>
                <a:lnTo>
                  <a:pt x="888" y="683"/>
                </a:lnTo>
                <a:lnTo>
                  <a:pt x="908" y="683"/>
                </a:lnTo>
                <a:lnTo>
                  <a:pt x="908" y="712"/>
                </a:lnTo>
                <a:lnTo>
                  <a:pt x="908" y="719"/>
                </a:lnTo>
                <a:lnTo>
                  <a:pt x="900" y="725"/>
                </a:lnTo>
                <a:lnTo>
                  <a:pt x="881" y="740"/>
                </a:lnTo>
                <a:lnTo>
                  <a:pt x="850" y="752"/>
                </a:lnTo>
                <a:lnTo>
                  <a:pt x="821" y="754"/>
                </a:lnTo>
                <a:lnTo>
                  <a:pt x="798" y="754"/>
                </a:lnTo>
                <a:lnTo>
                  <a:pt x="745" y="744"/>
                </a:lnTo>
                <a:lnTo>
                  <a:pt x="712" y="737"/>
                </a:lnTo>
                <a:lnTo>
                  <a:pt x="693" y="729"/>
                </a:lnTo>
                <a:lnTo>
                  <a:pt x="697" y="723"/>
                </a:lnTo>
                <a:lnTo>
                  <a:pt x="704" y="715"/>
                </a:lnTo>
                <a:lnTo>
                  <a:pt x="708" y="708"/>
                </a:lnTo>
                <a:lnTo>
                  <a:pt x="712" y="696"/>
                </a:lnTo>
                <a:lnTo>
                  <a:pt x="689" y="691"/>
                </a:lnTo>
                <a:lnTo>
                  <a:pt x="681" y="687"/>
                </a:lnTo>
                <a:lnTo>
                  <a:pt x="677" y="675"/>
                </a:lnTo>
                <a:lnTo>
                  <a:pt x="662" y="683"/>
                </a:lnTo>
                <a:lnTo>
                  <a:pt x="654" y="687"/>
                </a:lnTo>
                <a:lnTo>
                  <a:pt x="647" y="687"/>
                </a:lnTo>
                <a:lnTo>
                  <a:pt x="635" y="683"/>
                </a:lnTo>
                <a:lnTo>
                  <a:pt x="627" y="679"/>
                </a:lnTo>
                <a:lnTo>
                  <a:pt x="627" y="671"/>
                </a:lnTo>
                <a:lnTo>
                  <a:pt x="627" y="662"/>
                </a:lnTo>
                <a:lnTo>
                  <a:pt x="624" y="650"/>
                </a:lnTo>
                <a:lnTo>
                  <a:pt x="627" y="646"/>
                </a:lnTo>
                <a:lnTo>
                  <a:pt x="612" y="646"/>
                </a:lnTo>
                <a:lnTo>
                  <a:pt x="604" y="654"/>
                </a:lnTo>
                <a:lnTo>
                  <a:pt x="597" y="658"/>
                </a:lnTo>
                <a:lnTo>
                  <a:pt x="593" y="667"/>
                </a:lnTo>
                <a:lnTo>
                  <a:pt x="583" y="683"/>
                </a:lnTo>
                <a:lnTo>
                  <a:pt x="579" y="691"/>
                </a:lnTo>
                <a:lnTo>
                  <a:pt x="568" y="694"/>
                </a:lnTo>
                <a:lnTo>
                  <a:pt x="549" y="700"/>
                </a:lnTo>
                <a:lnTo>
                  <a:pt x="533" y="700"/>
                </a:lnTo>
                <a:lnTo>
                  <a:pt x="514" y="704"/>
                </a:lnTo>
                <a:lnTo>
                  <a:pt x="495" y="708"/>
                </a:lnTo>
                <a:lnTo>
                  <a:pt x="464" y="719"/>
                </a:lnTo>
                <a:lnTo>
                  <a:pt x="436" y="729"/>
                </a:lnTo>
                <a:lnTo>
                  <a:pt x="401" y="740"/>
                </a:lnTo>
                <a:lnTo>
                  <a:pt x="382" y="744"/>
                </a:lnTo>
                <a:lnTo>
                  <a:pt x="359" y="744"/>
                </a:lnTo>
                <a:lnTo>
                  <a:pt x="288" y="737"/>
                </a:lnTo>
                <a:lnTo>
                  <a:pt x="234" y="729"/>
                </a:lnTo>
                <a:lnTo>
                  <a:pt x="213" y="725"/>
                </a:lnTo>
                <a:lnTo>
                  <a:pt x="201" y="725"/>
                </a:lnTo>
                <a:lnTo>
                  <a:pt x="194" y="729"/>
                </a:lnTo>
                <a:lnTo>
                  <a:pt x="190" y="708"/>
                </a:lnTo>
                <a:lnTo>
                  <a:pt x="182" y="694"/>
                </a:lnTo>
                <a:lnTo>
                  <a:pt x="174" y="679"/>
                </a:lnTo>
                <a:lnTo>
                  <a:pt x="174" y="662"/>
                </a:lnTo>
                <a:lnTo>
                  <a:pt x="174" y="650"/>
                </a:lnTo>
                <a:lnTo>
                  <a:pt x="178" y="643"/>
                </a:lnTo>
                <a:lnTo>
                  <a:pt x="182" y="633"/>
                </a:lnTo>
                <a:lnTo>
                  <a:pt x="186" y="621"/>
                </a:lnTo>
                <a:lnTo>
                  <a:pt x="182" y="608"/>
                </a:lnTo>
                <a:lnTo>
                  <a:pt x="174" y="596"/>
                </a:lnTo>
                <a:lnTo>
                  <a:pt x="159" y="589"/>
                </a:lnTo>
                <a:lnTo>
                  <a:pt x="144" y="585"/>
                </a:lnTo>
                <a:lnTo>
                  <a:pt x="109" y="579"/>
                </a:lnTo>
                <a:lnTo>
                  <a:pt x="77" y="572"/>
                </a:lnTo>
                <a:lnTo>
                  <a:pt x="61" y="564"/>
                </a:lnTo>
                <a:lnTo>
                  <a:pt x="46" y="556"/>
                </a:lnTo>
                <a:lnTo>
                  <a:pt x="30" y="543"/>
                </a:lnTo>
                <a:lnTo>
                  <a:pt x="19" y="531"/>
                </a:lnTo>
                <a:lnTo>
                  <a:pt x="11" y="514"/>
                </a:lnTo>
                <a:lnTo>
                  <a:pt x="7" y="499"/>
                </a:lnTo>
                <a:lnTo>
                  <a:pt x="0" y="464"/>
                </a:lnTo>
                <a:lnTo>
                  <a:pt x="382" y="474"/>
                </a:lnTo>
                <a:lnTo>
                  <a:pt x="464" y="99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58" name="Freeform 504"/>
          <p:cNvSpPr>
            <a:spLocks/>
          </p:cNvSpPr>
          <p:nvPr/>
        </p:nvSpPr>
        <p:spPr bwMode="gray">
          <a:xfrm>
            <a:off x="5405916" y="2988206"/>
            <a:ext cx="121856" cy="166522"/>
          </a:xfrm>
          <a:custGeom>
            <a:avLst/>
            <a:gdLst>
              <a:gd name="T0" fmla="*/ 18 w 317"/>
              <a:gd name="T1" fmla="*/ 66 h 428"/>
              <a:gd name="T2" fmla="*/ 10 w 317"/>
              <a:gd name="T3" fmla="*/ 61 h 428"/>
              <a:gd name="T4" fmla="*/ 2 w 317"/>
              <a:gd name="T5" fmla="*/ 52 h 428"/>
              <a:gd name="T6" fmla="*/ 0 w 317"/>
              <a:gd name="T7" fmla="*/ 46 h 428"/>
              <a:gd name="T8" fmla="*/ 2 w 317"/>
              <a:gd name="T9" fmla="*/ 39 h 428"/>
              <a:gd name="T10" fmla="*/ 7 w 317"/>
              <a:gd name="T11" fmla="*/ 33 h 428"/>
              <a:gd name="T12" fmla="*/ 14 w 317"/>
              <a:gd name="T13" fmla="*/ 40 h 428"/>
              <a:gd name="T14" fmla="*/ 20 w 317"/>
              <a:gd name="T15" fmla="*/ 47 h 428"/>
              <a:gd name="T16" fmla="*/ 24 w 317"/>
              <a:gd name="T17" fmla="*/ 47 h 428"/>
              <a:gd name="T18" fmla="*/ 27 w 317"/>
              <a:gd name="T19" fmla="*/ 42 h 428"/>
              <a:gd name="T20" fmla="*/ 27 w 317"/>
              <a:gd name="T21" fmla="*/ 33 h 428"/>
              <a:gd name="T22" fmla="*/ 26 w 317"/>
              <a:gd name="T23" fmla="*/ 18 h 428"/>
              <a:gd name="T24" fmla="*/ 23 w 317"/>
              <a:gd name="T25" fmla="*/ 12 h 428"/>
              <a:gd name="T26" fmla="*/ 20 w 317"/>
              <a:gd name="T27" fmla="*/ 7 h 428"/>
              <a:gd name="T28" fmla="*/ 21 w 317"/>
              <a:gd name="T29" fmla="*/ 3 h 428"/>
              <a:gd name="T30" fmla="*/ 26 w 317"/>
              <a:gd name="T31" fmla="*/ 1 h 428"/>
              <a:gd name="T32" fmla="*/ 29 w 317"/>
              <a:gd name="T33" fmla="*/ 3 h 428"/>
              <a:gd name="T34" fmla="*/ 33 w 317"/>
              <a:gd name="T35" fmla="*/ 1 h 428"/>
              <a:gd name="T36" fmla="*/ 38 w 317"/>
              <a:gd name="T37" fmla="*/ 2 h 428"/>
              <a:gd name="T38" fmla="*/ 45 w 317"/>
              <a:gd name="T39" fmla="*/ 3 h 428"/>
              <a:gd name="T40" fmla="*/ 51 w 317"/>
              <a:gd name="T41" fmla="*/ 2 h 428"/>
              <a:gd name="T42" fmla="*/ 59 w 317"/>
              <a:gd name="T43" fmla="*/ 0 h 428"/>
              <a:gd name="T44" fmla="*/ 65 w 317"/>
              <a:gd name="T45" fmla="*/ 3 h 428"/>
              <a:gd name="T46" fmla="*/ 68 w 317"/>
              <a:gd name="T47" fmla="*/ 7 h 428"/>
              <a:gd name="T48" fmla="*/ 67 w 317"/>
              <a:gd name="T49" fmla="*/ 10 h 428"/>
              <a:gd name="T50" fmla="*/ 59 w 317"/>
              <a:gd name="T51" fmla="*/ 14 h 428"/>
              <a:gd name="T52" fmla="*/ 64 w 317"/>
              <a:gd name="T53" fmla="*/ 15 h 428"/>
              <a:gd name="T54" fmla="*/ 61 w 317"/>
              <a:gd name="T55" fmla="*/ 22 h 428"/>
              <a:gd name="T56" fmla="*/ 51 w 317"/>
              <a:gd name="T57" fmla="*/ 28 h 428"/>
              <a:gd name="T58" fmla="*/ 48 w 317"/>
              <a:gd name="T59" fmla="*/ 35 h 428"/>
              <a:gd name="T60" fmla="*/ 52 w 317"/>
              <a:gd name="T61" fmla="*/ 34 h 428"/>
              <a:gd name="T62" fmla="*/ 57 w 317"/>
              <a:gd name="T63" fmla="*/ 33 h 428"/>
              <a:gd name="T64" fmla="*/ 62 w 317"/>
              <a:gd name="T65" fmla="*/ 33 h 428"/>
              <a:gd name="T66" fmla="*/ 69 w 317"/>
              <a:gd name="T67" fmla="*/ 41 h 428"/>
              <a:gd name="T68" fmla="*/ 70 w 317"/>
              <a:gd name="T69" fmla="*/ 44 h 428"/>
              <a:gd name="T70" fmla="*/ 77 w 317"/>
              <a:gd name="T71" fmla="*/ 49 h 428"/>
              <a:gd name="T72" fmla="*/ 79 w 317"/>
              <a:gd name="T73" fmla="*/ 56 h 428"/>
              <a:gd name="T74" fmla="*/ 74 w 317"/>
              <a:gd name="T75" fmla="*/ 61 h 428"/>
              <a:gd name="T76" fmla="*/ 72 w 317"/>
              <a:gd name="T77" fmla="*/ 63 h 428"/>
              <a:gd name="T78" fmla="*/ 75 w 317"/>
              <a:gd name="T79" fmla="*/ 68 h 428"/>
              <a:gd name="T80" fmla="*/ 77 w 317"/>
              <a:gd name="T81" fmla="*/ 73 h 428"/>
              <a:gd name="T82" fmla="*/ 76 w 317"/>
              <a:gd name="T83" fmla="*/ 80 h 428"/>
              <a:gd name="T84" fmla="*/ 72 w 317"/>
              <a:gd name="T85" fmla="*/ 87 h 428"/>
              <a:gd name="T86" fmla="*/ 68 w 317"/>
              <a:gd name="T87" fmla="*/ 90 h 428"/>
              <a:gd name="T88" fmla="*/ 61 w 317"/>
              <a:gd name="T89" fmla="*/ 92 h 428"/>
              <a:gd name="T90" fmla="*/ 52 w 317"/>
              <a:gd name="T91" fmla="*/ 90 h 428"/>
              <a:gd name="T92" fmla="*/ 55 w 317"/>
              <a:gd name="T93" fmla="*/ 94 h 428"/>
              <a:gd name="T94" fmla="*/ 58 w 317"/>
              <a:gd name="T95" fmla="*/ 98 h 428"/>
              <a:gd name="T96" fmla="*/ 54 w 317"/>
              <a:gd name="T97" fmla="*/ 104 h 428"/>
              <a:gd name="T98" fmla="*/ 49 w 317"/>
              <a:gd name="T99" fmla="*/ 107 h 428"/>
              <a:gd name="T100" fmla="*/ 45 w 317"/>
              <a:gd name="T101" fmla="*/ 105 h 428"/>
              <a:gd name="T102" fmla="*/ 40 w 317"/>
              <a:gd name="T103" fmla="*/ 101 h 428"/>
              <a:gd name="T104" fmla="*/ 39 w 317"/>
              <a:gd name="T105" fmla="*/ 97 h 428"/>
              <a:gd name="T106" fmla="*/ 35 w 317"/>
              <a:gd name="T107" fmla="*/ 89 h 428"/>
              <a:gd name="T108" fmla="*/ 28 w 317"/>
              <a:gd name="T109" fmla="*/ 82 h 428"/>
              <a:gd name="T110" fmla="*/ 23 w 317"/>
              <a:gd name="T111" fmla="*/ 71 h 428"/>
              <a:gd name="T112" fmla="*/ 21 w 317"/>
              <a:gd name="T113" fmla="*/ 66 h 42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317"/>
              <a:gd name="T172" fmla="*/ 0 h 428"/>
              <a:gd name="T173" fmla="*/ 317 w 317"/>
              <a:gd name="T174" fmla="*/ 428 h 428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317" h="428">
                <a:moveTo>
                  <a:pt x="84" y="263"/>
                </a:moveTo>
                <a:lnTo>
                  <a:pt x="73" y="263"/>
                </a:lnTo>
                <a:lnTo>
                  <a:pt x="58" y="255"/>
                </a:lnTo>
                <a:lnTo>
                  <a:pt x="42" y="245"/>
                </a:lnTo>
                <a:lnTo>
                  <a:pt x="31" y="234"/>
                </a:lnTo>
                <a:lnTo>
                  <a:pt x="8" y="205"/>
                </a:lnTo>
                <a:lnTo>
                  <a:pt x="4" y="194"/>
                </a:lnTo>
                <a:lnTo>
                  <a:pt x="0" y="184"/>
                </a:lnTo>
                <a:lnTo>
                  <a:pt x="4" y="169"/>
                </a:lnTo>
                <a:lnTo>
                  <a:pt x="8" y="155"/>
                </a:lnTo>
                <a:lnTo>
                  <a:pt x="19" y="126"/>
                </a:lnTo>
                <a:lnTo>
                  <a:pt x="31" y="130"/>
                </a:lnTo>
                <a:lnTo>
                  <a:pt x="42" y="136"/>
                </a:lnTo>
                <a:lnTo>
                  <a:pt x="58" y="159"/>
                </a:lnTo>
                <a:lnTo>
                  <a:pt x="73" y="180"/>
                </a:lnTo>
                <a:lnTo>
                  <a:pt x="81" y="188"/>
                </a:lnTo>
                <a:lnTo>
                  <a:pt x="92" y="188"/>
                </a:lnTo>
                <a:lnTo>
                  <a:pt x="98" y="188"/>
                </a:lnTo>
                <a:lnTo>
                  <a:pt x="102" y="180"/>
                </a:lnTo>
                <a:lnTo>
                  <a:pt x="109" y="165"/>
                </a:lnTo>
                <a:lnTo>
                  <a:pt x="109" y="144"/>
                </a:lnTo>
                <a:lnTo>
                  <a:pt x="109" y="130"/>
                </a:lnTo>
                <a:lnTo>
                  <a:pt x="109" y="78"/>
                </a:lnTo>
                <a:lnTo>
                  <a:pt x="106" y="69"/>
                </a:lnTo>
                <a:lnTo>
                  <a:pt x="106" y="61"/>
                </a:lnTo>
                <a:lnTo>
                  <a:pt x="94" y="46"/>
                </a:lnTo>
                <a:lnTo>
                  <a:pt x="84" y="32"/>
                </a:lnTo>
                <a:lnTo>
                  <a:pt x="81" y="25"/>
                </a:lnTo>
                <a:lnTo>
                  <a:pt x="81" y="17"/>
                </a:lnTo>
                <a:lnTo>
                  <a:pt x="84" y="15"/>
                </a:lnTo>
                <a:lnTo>
                  <a:pt x="92" y="7"/>
                </a:lnTo>
                <a:lnTo>
                  <a:pt x="106" y="4"/>
                </a:lnTo>
                <a:lnTo>
                  <a:pt x="113" y="7"/>
                </a:lnTo>
                <a:lnTo>
                  <a:pt x="117" y="11"/>
                </a:lnTo>
                <a:lnTo>
                  <a:pt x="121" y="11"/>
                </a:lnTo>
                <a:lnTo>
                  <a:pt x="132" y="4"/>
                </a:lnTo>
                <a:lnTo>
                  <a:pt x="144" y="4"/>
                </a:lnTo>
                <a:lnTo>
                  <a:pt x="155" y="7"/>
                </a:lnTo>
                <a:lnTo>
                  <a:pt x="167" y="11"/>
                </a:lnTo>
                <a:lnTo>
                  <a:pt x="182" y="15"/>
                </a:lnTo>
                <a:lnTo>
                  <a:pt x="196" y="11"/>
                </a:lnTo>
                <a:lnTo>
                  <a:pt x="207" y="7"/>
                </a:lnTo>
                <a:lnTo>
                  <a:pt x="223" y="0"/>
                </a:lnTo>
                <a:lnTo>
                  <a:pt x="238" y="0"/>
                </a:lnTo>
                <a:lnTo>
                  <a:pt x="250" y="0"/>
                </a:lnTo>
                <a:lnTo>
                  <a:pt x="261" y="11"/>
                </a:lnTo>
                <a:lnTo>
                  <a:pt x="269" y="21"/>
                </a:lnTo>
                <a:lnTo>
                  <a:pt x="273" y="29"/>
                </a:lnTo>
                <a:lnTo>
                  <a:pt x="273" y="36"/>
                </a:lnTo>
                <a:lnTo>
                  <a:pt x="269" y="40"/>
                </a:lnTo>
                <a:lnTo>
                  <a:pt x="257" y="46"/>
                </a:lnTo>
                <a:lnTo>
                  <a:pt x="238" y="57"/>
                </a:lnTo>
                <a:lnTo>
                  <a:pt x="250" y="61"/>
                </a:lnTo>
                <a:lnTo>
                  <a:pt x="257" y="61"/>
                </a:lnTo>
                <a:lnTo>
                  <a:pt x="253" y="75"/>
                </a:lnTo>
                <a:lnTo>
                  <a:pt x="246" y="86"/>
                </a:lnTo>
                <a:lnTo>
                  <a:pt x="219" y="107"/>
                </a:lnTo>
                <a:lnTo>
                  <a:pt x="207" y="115"/>
                </a:lnTo>
                <a:lnTo>
                  <a:pt x="200" y="126"/>
                </a:lnTo>
                <a:lnTo>
                  <a:pt x="192" y="140"/>
                </a:lnTo>
                <a:lnTo>
                  <a:pt x="196" y="155"/>
                </a:lnTo>
                <a:lnTo>
                  <a:pt x="211" y="136"/>
                </a:lnTo>
                <a:lnTo>
                  <a:pt x="219" y="132"/>
                </a:lnTo>
                <a:lnTo>
                  <a:pt x="230" y="130"/>
                </a:lnTo>
                <a:lnTo>
                  <a:pt x="238" y="130"/>
                </a:lnTo>
                <a:lnTo>
                  <a:pt x="250" y="132"/>
                </a:lnTo>
                <a:lnTo>
                  <a:pt x="265" y="148"/>
                </a:lnTo>
                <a:lnTo>
                  <a:pt x="278" y="161"/>
                </a:lnTo>
                <a:lnTo>
                  <a:pt x="282" y="169"/>
                </a:lnTo>
                <a:lnTo>
                  <a:pt x="282" y="176"/>
                </a:lnTo>
                <a:lnTo>
                  <a:pt x="297" y="184"/>
                </a:lnTo>
                <a:lnTo>
                  <a:pt x="309" y="194"/>
                </a:lnTo>
                <a:lnTo>
                  <a:pt x="313" y="209"/>
                </a:lnTo>
                <a:lnTo>
                  <a:pt x="317" y="226"/>
                </a:lnTo>
                <a:lnTo>
                  <a:pt x="317" y="245"/>
                </a:lnTo>
                <a:lnTo>
                  <a:pt x="297" y="245"/>
                </a:lnTo>
                <a:lnTo>
                  <a:pt x="294" y="247"/>
                </a:lnTo>
                <a:lnTo>
                  <a:pt x="290" y="255"/>
                </a:lnTo>
                <a:lnTo>
                  <a:pt x="294" y="263"/>
                </a:lnTo>
                <a:lnTo>
                  <a:pt x="301" y="270"/>
                </a:lnTo>
                <a:lnTo>
                  <a:pt x="305" y="280"/>
                </a:lnTo>
                <a:lnTo>
                  <a:pt x="309" y="291"/>
                </a:lnTo>
                <a:lnTo>
                  <a:pt x="309" y="305"/>
                </a:lnTo>
                <a:lnTo>
                  <a:pt x="305" y="320"/>
                </a:lnTo>
                <a:lnTo>
                  <a:pt x="297" y="330"/>
                </a:lnTo>
                <a:lnTo>
                  <a:pt x="290" y="345"/>
                </a:lnTo>
                <a:lnTo>
                  <a:pt x="282" y="353"/>
                </a:lnTo>
                <a:lnTo>
                  <a:pt x="273" y="359"/>
                </a:lnTo>
                <a:lnTo>
                  <a:pt x="257" y="366"/>
                </a:lnTo>
                <a:lnTo>
                  <a:pt x="246" y="366"/>
                </a:lnTo>
                <a:lnTo>
                  <a:pt x="226" y="366"/>
                </a:lnTo>
                <a:lnTo>
                  <a:pt x="211" y="359"/>
                </a:lnTo>
                <a:lnTo>
                  <a:pt x="219" y="366"/>
                </a:lnTo>
                <a:lnTo>
                  <a:pt x="223" y="374"/>
                </a:lnTo>
                <a:lnTo>
                  <a:pt x="230" y="382"/>
                </a:lnTo>
                <a:lnTo>
                  <a:pt x="234" y="391"/>
                </a:lnTo>
                <a:lnTo>
                  <a:pt x="230" y="403"/>
                </a:lnTo>
                <a:lnTo>
                  <a:pt x="219" y="414"/>
                </a:lnTo>
                <a:lnTo>
                  <a:pt x="207" y="420"/>
                </a:lnTo>
                <a:lnTo>
                  <a:pt x="196" y="428"/>
                </a:lnTo>
                <a:lnTo>
                  <a:pt x="188" y="424"/>
                </a:lnTo>
                <a:lnTo>
                  <a:pt x="182" y="420"/>
                </a:lnTo>
                <a:lnTo>
                  <a:pt x="171" y="414"/>
                </a:lnTo>
                <a:lnTo>
                  <a:pt x="163" y="403"/>
                </a:lnTo>
                <a:lnTo>
                  <a:pt x="159" y="395"/>
                </a:lnTo>
                <a:lnTo>
                  <a:pt x="159" y="386"/>
                </a:lnTo>
                <a:lnTo>
                  <a:pt x="155" y="370"/>
                </a:lnTo>
                <a:lnTo>
                  <a:pt x="140" y="353"/>
                </a:lnTo>
                <a:lnTo>
                  <a:pt x="129" y="341"/>
                </a:lnTo>
                <a:lnTo>
                  <a:pt x="113" y="328"/>
                </a:lnTo>
                <a:lnTo>
                  <a:pt x="102" y="313"/>
                </a:lnTo>
                <a:lnTo>
                  <a:pt x="94" y="284"/>
                </a:lnTo>
                <a:lnTo>
                  <a:pt x="88" y="270"/>
                </a:lnTo>
                <a:lnTo>
                  <a:pt x="84" y="263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59" name="Freeform 505"/>
          <p:cNvSpPr>
            <a:spLocks/>
          </p:cNvSpPr>
          <p:nvPr/>
        </p:nvSpPr>
        <p:spPr bwMode="gray">
          <a:xfrm>
            <a:off x="5467616" y="3244213"/>
            <a:ext cx="102576" cy="88708"/>
          </a:xfrm>
          <a:custGeom>
            <a:avLst/>
            <a:gdLst>
              <a:gd name="T0" fmla="*/ 26 w 267"/>
              <a:gd name="T1" fmla="*/ 50 h 229"/>
              <a:gd name="T2" fmla="*/ 24 w 267"/>
              <a:gd name="T3" fmla="*/ 49 h 229"/>
              <a:gd name="T4" fmla="*/ 22 w 267"/>
              <a:gd name="T5" fmla="*/ 46 h 229"/>
              <a:gd name="T6" fmla="*/ 19 w 267"/>
              <a:gd name="T7" fmla="*/ 42 h 229"/>
              <a:gd name="T8" fmla="*/ 17 w 267"/>
              <a:gd name="T9" fmla="*/ 44 h 229"/>
              <a:gd name="T10" fmla="*/ 16 w 267"/>
              <a:gd name="T11" fmla="*/ 44 h 229"/>
              <a:gd name="T12" fmla="*/ 15 w 267"/>
              <a:gd name="T13" fmla="*/ 44 h 229"/>
              <a:gd name="T14" fmla="*/ 13 w 267"/>
              <a:gd name="T15" fmla="*/ 44 h 229"/>
              <a:gd name="T16" fmla="*/ 12 w 267"/>
              <a:gd name="T17" fmla="*/ 42 h 229"/>
              <a:gd name="T18" fmla="*/ 10 w 267"/>
              <a:gd name="T19" fmla="*/ 40 h 229"/>
              <a:gd name="T20" fmla="*/ 9 w 267"/>
              <a:gd name="T21" fmla="*/ 39 h 229"/>
              <a:gd name="T22" fmla="*/ 7 w 267"/>
              <a:gd name="T23" fmla="*/ 40 h 229"/>
              <a:gd name="T24" fmla="*/ 5 w 267"/>
              <a:gd name="T25" fmla="*/ 41 h 229"/>
              <a:gd name="T26" fmla="*/ 4 w 267"/>
              <a:gd name="T27" fmla="*/ 40 h 229"/>
              <a:gd name="T28" fmla="*/ 2 w 267"/>
              <a:gd name="T29" fmla="*/ 39 h 229"/>
              <a:gd name="T30" fmla="*/ 1 w 267"/>
              <a:gd name="T31" fmla="*/ 36 h 229"/>
              <a:gd name="T32" fmla="*/ 0 w 267"/>
              <a:gd name="T33" fmla="*/ 32 h 229"/>
              <a:gd name="T34" fmla="*/ 3 w 267"/>
              <a:gd name="T35" fmla="*/ 30 h 229"/>
              <a:gd name="T36" fmla="*/ 7 w 267"/>
              <a:gd name="T37" fmla="*/ 27 h 229"/>
              <a:gd name="T38" fmla="*/ 16 w 267"/>
              <a:gd name="T39" fmla="*/ 21 h 229"/>
              <a:gd name="T40" fmla="*/ 15 w 267"/>
              <a:gd name="T41" fmla="*/ 15 h 229"/>
              <a:gd name="T42" fmla="*/ 17 w 267"/>
              <a:gd name="T43" fmla="*/ 17 h 229"/>
              <a:gd name="T44" fmla="*/ 20 w 267"/>
              <a:gd name="T45" fmla="*/ 18 h 229"/>
              <a:gd name="T46" fmla="*/ 21 w 267"/>
              <a:gd name="T47" fmla="*/ 17 h 229"/>
              <a:gd name="T48" fmla="*/ 21 w 267"/>
              <a:gd name="T49" fmla="*/ 15 h 229"/>
              <a:gd name="T50" fmla="*/ 19 w 267"/>
              <a:gd name="T51" fmla="*/ 12 h 229"/>
              <a:gd name="T52" fmla="*/ 17 w 267"/>
              <a:gd name="T53" fmla="*/ 9 h 229"/>
              <a:gd name="T54" fmla="*/ 16 w 267"/>
              <a:gd name="T55" fmla="*/ 6 h 229"/>
              <a:gd name="T56" fmla="*/ 17 w 267"/>
              <a:gd name="T57" fmla="*/ 3 h 229"/>
              <a:gd name="T58" fmla="*/ 19 w 267"/>
              <a:gd name="T59" fmla="*/ 2 h 229"/>
              <a:gd name="T60" fmla="*/ 22 w 267"/>
              <a:gd name="T61" fmla="*/ 1 h 229"/>
              <a:gd name="T62" fmla="*/ 25 w 267"/>
              <a:gd name="T63" fmla="*/ 0 h 229"/>
              <a:gd name="T64" fmla="*/ 28 w 267"/>
              <a:gd name="T65" fmla="*/ 1 h 229"/>
              <a:gd name="T66" fmla="*/ 30 w 267"/>
              <a:gd name="T67" fmla="*/ 2 h 229"/>
              <a:gd name="T68" fmla="*/ 33 w 267"/>
              <a:gd name="T69" fmla="*/ 7 h 229"/>
              <a:gd name="T70" fmla="*/ 37 w 267"/>
              <a:gd name="T71" fmla="*/ 10 h 229"/>
              <a:gd name="T72" fmla="*/ 43 w 267"/>
              <a:gd name="T73" fmla="*/ 12 h 229"/>
              <a:gd name="T74" fmla="*/ 48 w 267"/>
              <a:gd name="T75" fmla="*/ 14 h 229"/>
              <a:gd name="T76" fmla="*/ 50 w 267"/>
              <a:gd name="T77" fmla="*/ 16 h 229"/>
              <a:gd name="T78" fmla="*/ 52 w 267"/>
              <a:gd name="T79" fmla="*/ 18 h 229"/>
              <a:gd name="T80" fmla="*/ 53 w 267"/>
              <a:gd name="T81" fmla="*/ 23 h 229"/>
              <a:gd name="T82" fmla="*/ 54 w 267"/>
              <a:gd name="T83" fmla="*/ 27 h 229"/>
              <a:gd name="T84" fmla="*/ 57 w 267"/>
              <a:gd name="T85" fmla="*/ 35 h 229"/>
              <a:gd name="T86" fmla="*/ 57 w 267"/>
              <a:gd name="T87" fmla="*/ 36 h 229"/>
              <a:gd name="T88" fmla="*/ 59 w 267"/>
              <a:gd name="T89" fmla="*/ 37 h 229"/>
              <a:gd name="T90" fmla="*/ 62 w 267"/>
              <a:gd name="T91" fmla="*/ 37 h 229"/>
              <a:gd name="T92" fmla="*/ 64 w 267"/>
              <a:gd name="T93" fmla="*/ 38 h 229"/>
              <a:gd name="T94" fmla="*/ 65 w 267"/>
              <a:gd name="T95" fmla="*/ 39 h 229"/>
              <a:gd name="T96" fmla="*/ 66 w 267"/>
              <a:gd name="T97" fmla="*/ 41 h 229"/>
              <a:gd name="T98" fmla="*/ 63 w 267"/>
              <a:gd name="T99" fmla="*/ 43 h 229"/>
              <a:gd name="T100" fmla="*/ 59 w 267"/>
              <a:gd name="T101" fmla="*/ 43 h 229"/>
              <a:gd name="T102" fmla="*/ 58 w 267"/>
              <a:gd name="T103" fmla="*/ 49 h 229"/>
              <a:gd name="T104" fmla="*/ 55 w 267"/>
              <a:gd name="T105" fmla="*/ 53 h 229"/>
              <a:gd name="T106" fmla="*/ 52 w 267"/>
              <a:gd name="T107" fmla="*/ 56 h 229"/>
              <a:gd name="T108" fmla="*/ 50 w 267"/>
              <a:gd name="T109" fmla="*/ 57 h 229"/>
              <a:gd name="T110" fmla="*/ 47 w 267"/>
              <a:gd name="T111" fmla="*/ 57 h 229"/>
              <a:gd name="T112" fmla="*/ 44 w 267"/>
              <a:gd name="T113" fmla="*/ 57 h 229"/>
              <a:gd name="T114" fmla="*/ 41 w 267"/>
              <a:gd name="T115" fmla="*/ 56 h 229"/>
              <a:gd name="T116" fmla="*/ 36 w 267"/>
              <a:gd name="T117" fmla="*/ 53 h 229"/>
              <a:gd name="T118" fmla="*/ 32 w 267"/>
              <a:gd name="T119" fmla="*/ 50 h 229"/>
              <a:gd name="T120" fmla="*/ 29 w 267"/>
              <a:gd name="T121" fmla="*/ 50 h 229"/>
              <a:gd name="T122" fmla="*/ 26 w 267"/>
              <a:gd name="T123" fmla="*/ 50 h 22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67"/>
              <a:gd name="T187" fmla="*/ 0 h 229"/>
              <a:gd name="T188" fmla="*/ 267 w 267"/>
              <a:gd name="T189" fmla="*/ 229 h 229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67" h="229">
                <a:moveTo>
                  <a:pt x="106" y="200"/>
                </a:moveTo>
                <a:lnTo>
                  <a:pt x="98" y="196"/>
                </a:lnTo>
                <a:lnTo>
                  <a:pt x="91" y="184"/>
                </a:lnTo>
                <a:lnTo>
                  <a:pt x="79" y="169"/>
                </a:lnTo>
                <a:lnTo>
                  <a:pt x="71" y="177"/>
                </a:lnTo>
                <a:lnTo>
                  <a:pt x="67" y="177"/>
                </a:lnTo>
                <a:lnTo>
                  <a:pt x="60" y="177"/>
                </a:lnTo>
                <a:lnTo>
                  <a:pt x="52" y="177"/>
                </a:lnTo>
                <a:lnTo>
                  <a:pt x="48" y="169"/>
                </a:lnTo>
                <a:lnTo>
                  <a:pt x="41" y="163"/>
                </a:lnTo>
                <a:lnTo>
                  <a:pt x="37" y="156"/>
                </a:lnTo>
                <a:lnTo>
                  <a:pt x="31" y="163"/>
                </a:lnTo>
                <a:lnTo>
                  <a:pt x="23" y="167"/>
                </a:lnTo>
                <a:lnTo>
                  <a:pt x="16" y="163"/>
                </a:lnTo>
                <a:lnTo>
                  <a:pt x="8" y="156"/>
                </a:lnTo>
                <a:lnTo>
                  <a:pt x="4" y="144"/>
                </a:lnTo>
                <a:lnTo>
                  <a:pt x="0" y="131"/>
                </a:lnTo>
                <a:lnTo>
                  <a:pt x="12" y="123"/>
                </a:lnTo>
                <a:lnTo>
                  <a:pt x="31" y="108"/>
                </a:lnTo>
                <a:lnTo>
                  <a:pt x="64" y="86"/>
                </a:lnTo>
                <a:lnTo>
                  <a:pt x="60" y="62"/>
                </a:lnTo>
                <a:lnTo>
                  <a:pt x="71" y="69"/>
                </a:lnTo>
                <a:lnTo>
                  <a:pt x="83" y="75"/>
                </a:lnTo>
                <a:lnTo>
                  <a:pt x="87" y="69"/>
                </a:lnTo>
                <a:lnTo>
                  <a:pt x="87" y="62"/>
                </a:lnTo>
                <a:lnTo>
                  <a:pt x="79" y="50"/>
                </a:lnTo>
                <a:lnTo>
                  <a:pt x="71" y="37"/>
                </a:lnTo>
                <a:lnTo>
                  <a:pt x="67" y="25"/>
                </a:lnTo>
                <a:lnTo>
                  <a:pt x="71" y="14"/>
                </a:lnTo>
                <a:lnTo>
                  <a:pt x="79" y="8"/>
                </a:lnTo>
                <a:lnTo>
                  <a:pt x="91" y="4"/>
                </a:lnTo>
                <a:lnTo>
                  <a:pt x="102" y="0"/>
                </a:lnTo>
                <a:lnTo>
                  <a:pt x="114" y="4"/>
                </a:lnTo>
                <a:lnTo>
                  <a:pt x="121" y="10"/>
                </a:lnTo>
                <a:lnTo>
                  <a:pt x="133" y="29"/>
                </a:lnTo>
                <a:lnTo>
                  <a:pt x="150" y="40"/>
                </a:lnTo>
                <a:lnTo>
                  <a:pt x="173" y="50"/>
                </a:lnTo>
                <a:lnTo>
                  <a:pt x="192" y="58"/>
                </a:lnTo>
                <a:lnTo>
                  <a:pt x="200" y="65"/>
                </a:lnTo>
                <a:lnTo>
                  <a:pt x="208" y="75"/>
                </a:lnTo>
                <a:lnTo>
                  <a:pt x="215" y="94"/>
                </a:lnTo>
                <a:lnTo>
                  <a:pt x="219" y="111"/>
                </a:lnTo>
                <a:lnTo>
                  <a:pt x="231" y="140"/>
                </a:lnTo>
                <a:lnTo>
                  <a:pt x="231" y="144"/>
                </a:lnTo>
                <a:lnTo>
                  <a:pt x="238" y="148"/>
                </a:lnTo>
                <a:lnTo>
                  <a:pt x="250" y="148"/>
                </a:lnTo>
                <a:lnTo>
                  <a:pt x="259" y="152"/>
                </a:lnTo>
                <a:lnTo>
                  <a:pt x="263" y="159"/>
                </a:lnTo>
                <a:lnTo>
                  <a:pt x="267" y="167"/>
                </a:lnTo>
                <a:lnTo>
                  <a:pt x="254" y="173"/>
                </a:lnTo>
                <a:lnTo>
                  <a:pt x="238" y="173"/>
                </a:lnTo>
                <a:lnTo>
                  <a:pt x="234" y="196"/>
                </a:lnTo>
                <a:lnTo>
                  <a:pt x="223" y="213"/>
                </a:lnTo>
                <a:lnTo>
                  <a:pt x="208" y="225"/>
                </a:lnTo>
                <a:lnTo>
                  <a:pt x="200" y="229"/>
                </a:lnTo>
                <a:lnTo>
                  <a:pt x="188" y="229"/>
                </a:lnTo>
                <a:lnTo>
                  <a:pt x="177" y="229"/>
                </a:lnTo>
                <a:lnTo>
                  <a:pt x="165" y="225"/>
                </a:lnTo>
                <a:lnTo>
                  <a:pt x="146" y="213"/>
                </a:lnTo>
                <a:lnTo>
                  <a:pt x="129" y="202"/>
                </a:lnTo>
                <a:lnTo>
                  <a:pt x="117" y="200"/>
                </a:lnTo>
                <a:lnTo>
                  <a:pt x="106" y="200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60" name="Freeform 506"/>
          <p:cNvSpPr>
            <a:spLocks/>
          </p:cNvSpPr>
          <p:nvPr/>
        </p:nvSpPr>
        <p:spPr bwMode="gray">
          <a:xfrm>
            <a:off x="5323393" y="2990540"/>
            <a:ext cx="49360" cy="52136"/>
          </a:xfrm>
          <a:custGeom>
            <a:avLst/>
            <a:gdLst>
              <a:gd name="T0" fmla="*/ 0 w 129"/>
              <a:gd name="T1" fmla="*/ 9 h 134"/>
              <a:gd name="T2" fmla="*/ 1 w 129"/>
              <a:gd name="T3" fmla="*/ 11 h 134"/>
              <a:gd name="T4" fmla="*/ 3 w 129"/>
              <a:gd name="T5" fmla="*/ 12 h 134"/>
              <a:gd name="T6" fmla="*/ 7 w 129"/>
              <a:gd name="T7" fmla="*/ 13 h 134"/>
              <a:gd name="T8" fmla="*/ 9 w 129"/>
              <a:gd name="T9" fmla="*/ 15 h 134"/>
              <a:gd name="T10" fmla="*/ 11 w 129"/>
              <a:gd name="T11" fmla="*/ 17 h 134"/>
              <a:gd name="T12" fmla="*/ 14 w 129"/>
              <a:gd name="T13" fmla="*/ 23 h 134"/>
              <a:gd name="T14" fmla="*/ 15 w 129"/>
              <a:gd name="T15" fmla="*/ 29 h 134"/>
              <a:gd name="T16" fmla="*/ 18 w 129"/>
              <a:gd name="T17" fmla="*/ 34 h 134"/>
              <a:gd name="T18" fmla="*/ 23 w 129"/>
              <a:gd name="T19" fmla="*/ 34 h 134"/>
              <a:gd name="T20" fmla="*/ 24 w 129"/>
              <a:gd name="T21" fmla="*/ 29 h 134"/>
              <a:gd name="T22" fmla="*/ 25 w 129"/>
              <a:gd name="T23" fmla="*/ 26 h 134"/>
              <a:gd name="T24" fmla="*/ 28 w 129"/>
              <a:gd name="T25" fmla="*/ 21 h 134"/>
              <a:gd name="T26" fmla="*/ 30 w 129"/>
              <a:gd name="T27" fmla="*/ 15 h 134"/>
              <a:gd name="T28" fmla="*/ 31 w 129"/>
              <a:gd name="T29" fmla="*/ 12 h 134"/>
              <a:gd name="T30" fmla="*/ 32 w 129"/>
              <a:gd name="T31" fmla="*/ 9 h 134"/>
              <a:gd name="T32" fmla="*/ 31 w 129"/>
              <a:gd name="T33" fmla="*/ 7 h 134"/>
              <a:gd name="T34" fmla="*/ 30 w 129"/>
              <a:gd name="T35" fmla="*/ 5 h 134"/>
              <a:gd name="T36" fmla="*/ 27 w 129"/>
              <a:gd name="T37" fmla="*/ 2 h 134"/>
              <a:gd name="T38" fmla="*/ 21 w 129"/>
              <a:gd name="T39" fmla="*/ 1 h 134"/>
              <a:gd name="T40" fmla="*/ 15 w 129"/>
              <a:gd name="T41" fmla="*/ 0 h 134"/>
              <a:gd name="T42" fmla="*/ 10 w 129"/>
              <a:gd name="T43" fmla="*/ 0 h 134"/>
              <a:gd name="T44" fmla="*/ 4 w 129"/>
              <a:gd name="T45" fmla="*/ 1 h 134"/>
              <a:gd name="T46" fmla="*/ 1 w 129"/>
              <a:gd name="T47" fmla="*/ 5 h 134"/>
              <a:gd name="T48" fmla="*/ 0 w 129"/>
              <a:gd name="T49" fmla="*/ 7 h 134"/>
              <a:gd name="T50" fmla="*/ 0 w 129"/>
              <a:gd name="T51" fmla="*/ 9 h 13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29"/>
              <a:gd name="T79" fmla="*/ 0 h 134"/>
              <a:gd name="T80" fmla="*/ 129 w 129"/>
              <a:gd name="T81" fmla="*/ 134 h 134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29" h="134">
                <a:moveTo>
                  <a:pt x="0" y="36"/>
                </a:moveTo>
                <a:lnTo>
                  <a:pt x="4" y="44"/>
                </a:lnTo>
                <a:lnTo>
                  <a:pt x="12" y="51"/>
                </a:lnTo>
                <a:lnTo>
                  <a:pt x="31" y="55"/>
                </a:lnTo>
                <a:lnTo>
                  <a:pt x="38" y="61"/>
                </a:lnTo>
                <a:lnTo>
                  <a:pt x="46" y="69"/>
                </a:lnTo>
                <a:lnTo>
                  <a:pt x="56" y="94"/>
                </a:lnTo>
                <a:lnTo>
                  <a:pt x="63" y="117"/>
                </a:lnTo>
                <a:lnTo>
                  <a:pt x="75" y="134"/>
                </a:lnTo>
                <a:lnTo>
                  <a:pt x="94" y="134"/>
                </a:lnTo>
                <a:lnTo>
                  <a:pt x="98" y="119"/>
                </a:lnTo>
                <a:lnTo>
                  <a:pt x="102" y="105"/>
                </a:lnTo>
                <a:lnTo>
                  <a:pt x="113" y="84"/>
                </a:lnTo>
                <a:lnTo>
                  <a:pt x="121" y="61"/>
                </a:lnTo>
                <a:lnTo>
                  <a:pt x="125" y="51"/>
                </a:lnTo>
                <a:lnTo>
                  <a:pt x="129" y="36"/>
                </a:lnTo>
                <a:lnTo>
                  <a:pt x="125" y="28"/>
                </a:lnTo>
                <a:lnTo>
                  <a:pt x="121" y="23"/>
                </a:lnTo>
                <a:lnTo>
                  <a:pt x="109" y="11"/>
                </a:lnTo>
                <a:lnTo>
                  <a:pt x="86" y="3"/>
                </a:lnTo>
                <a:lnTo>
                  <a:pt x="63" y="0"/>
                </a:lnTo>
                <a:lnTo>
                  <a:pt x="42" y="0"/>
                </a:lnTo>
                <a:lnTo>
                  <a:pt x="19" y="7"/>
                </a:lnTo>
                <a:lnTo>
                  <a:pt x="4" y="23"/>
                </a:lnTo>
                <a:lnTo>
                  <a:pt x="0" y="28"/>
                </a:lnTo>
                <a:lnTo>
                  <a:pt x="0" y="36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61" name="Freeform 507"/>
          <p:cNvSpPr>
            <a:spLocks/>
          </p:cNvSpPr>
          <p:nvPr/>
        </p:nvSpPr>
        <p:spPr bwMode="gray">
          <a:xfrm>
            <a:off x="5532400" y="2961749"/>
            <a:ext cx="99490" cy="140844"/>
          </a:xfrm>
          <a:custGeom>
            <a:avLst/>
            <a:gdLst>
              <a:gd name="T0" fmla="*/ 14 w 257"/>
              <a:gd name="T1" fmla="*/ 91 h 360"/>
              <a:gd name="T2" fmla="*/ 13 w 257"/>
              <a:gd name="T3" fmla="*/ 81 h 360"/>
              <a:gd name="T4" fmla="*/ 11 w 257"/>
              <a:gd name="T5" fmla="*/ 73 h 360"/>
              <a:gd name="T6" fmla="*/ 8 w 257"/>
              <a:gd name="T7" fmla="*/ 66 h 360"/>
              <a:gd name="T8" fmla="*/ 5 w 257"/>
              <a:gd name="T9" fmla="*/ 59 h 360"/>
              <a:gd name="T10" fmla="*/ 5 w 257"/>
              <a:gd name="T11" fmla="*/ 39 h 360"/>
              <a:gd name="T12" fmla="*/ 2 w 257"/>
              <a:gd name="T13" fmla="*/ 31 h 360"/>
              <a:gd name="T14" fmla="*/ 0 w 257"/>
              <a:gd name="T15" fmla="*/ 22 h 360"/>
              <a:gd name="T16" fmla="*/ 1 w 257"/>
              <a:gd name="T17" fmla="*/ 21 h 360"/>
              <a:gd name="T18" fmla="*/ 2 w 257"/>
              <a:gd name="T19" fmla="*/ 20 h 360"/>
              <a:gd name="T20" fmla="*/ 5 w 257"/>
              <a:gd name="T21" fmla="*/ 17 h 360"/>
              <a:gd name="T22" fmla="*/ 7 w 257"/>
              <a:gd name="T23" fmla="*/ 13 h 360"/>
              <a:gd name="T24" fmla="*/ 9 w 257"/>
              <a:gd name="T25" fmla="*/ 9 h 360"/>
              <a:gd name="T26" fmla="*/ 11 w 257"/>
              <a:gd name="T27" fmla="*/ 7 h 360"/>
              <a:gd name="T28" fmla="*/ 15 w 257"/>
              <a:gd name="T29" fmla="*/ 4 h 360"/>
              <a:gd name="T30" fmla="*/ 18 w 257"/>
              <a:gd name="T31" fmla="*/ 2 h 360"/>
              <a:gd name="T32" fmla="*/ 22 w 257"/>
              <a:gd name="T33" fmla="*/ 1 h 360"/>
              <a:gd name="T34" fmla="*/ 27 w 257"/>
              <a:gd name="T35" fmla="*/ 0 h 360"/>
              <a:gd name="T36" fmla="*/ 33 w 257"/>
              <a:gd name="T37" fmla="*/ 0 h 360"/>
              <a:gd name="T38" fmla="*/ 35 w 257"/>
              <a:gd name="T39" fmla="*/ 1 h 360"/>
              <a:gd name="T40" fmla="*/ 37 w 257"/>
              <a:gd name="T41" fmla="*/ 3 h 360"/>
              <a:gd name="T42" fmla="*/ 40 w 257"/>
              <a:gd name="T43" fmla="*/ 5 h 360"/>
              <a:gd name="T44" fmla="*/ 42 w 257"/>
              <a:gd name="T45" fmla="*/ 6 h 360"/>
              <a:gd name="T46" fmla="*/ 50 w 257"/>
              <a:gd name="T47" fmla="*/ 6 h 360"/>
              <a:gd name="T48" fmla="*/ 54 w 257"/>
              <a:gd name="T49" fmla="*/ 5 h 360"/>
              <a:gd name="T50" fmla="*/ 59 w 257"/>
              <a:gd name="T51" fmla="*/ 5 h 360"/>
              <a:gd name="T52" fmla="*/ 61 w 257"/>
              <a:gd name="T53" fmla="*/ 6 h 360"/>
              <a:gd name="T54" fmla="*/ 63 w 257"/>
              <a:gd name="T55" fmla="*/ 7 h 360"/>
              <a:gd name="T56" fmla="*/ 64 w 257"/>
              <a:gd name="T57" fmla="*/ 8 h 360"/>
              <a:gd name="T58" fmla="*/ 65 w 257"/>
              <a:gd name="T59" fmla="*/ 11 h 360"/>
              <a:gd name="T60" fmla="*/ 64 w 257"/>
              <a:gd name="T61" fmla="*/ 15 h 360"/>
              <a:gd name="T62" fmla="*/ 63 w 257"/>
              <a:gd name="T63" fmla="*/ 19 h 360"/>
              <a:gd name="T64" fmla="*/ 59 w 257"/>
              <a:gd name="T65" fmla="*/ 29 h 360"/>
              <a:gd name="T66" fmla="*/ 52 w 257"/>
              <a:gd name="T67" fmla="*/ 47 h 360"/>
              <a:gd name="T68" fmla="*/ 49 w 257"/>
              <a:gd name="T69" fmla="*/ 54 h 360"/>
              <a:gd name="T70" fmla="*/ 47 w 257"/>
              <a:gd name="T71" fmla="*/ 58 h 360"/>
              <a:gd name="T72" fmla="*/ 46 w 257"/>
              <a:gd name="T73" fmla="*/ 59 h 360"/>
              <a:gd name="T74" fmla="*/ 45 w 257"/>
              <a:gd name="T75" fmla="*/ 59 h 360"/>
              <a:gd name="T76" fmla="*/ 36 w 257"/>
              <a:gd name="T77" fmla="*/ 59 h 360"/>
              <a:gd name="T78" fmla="*/ 33 w 257"/>
              <a:gd name="T79" fmla="*/ 59 h 360"/>
              <a:gd name="T80" fmla="*/ 28 w 257"/>
              <a:gd name="T81" fmla="*/ 59 h 360"/>
              <a:gd name="T82" fmla="*/ 28 w 257"/>
              <a:gd name="T83" fmla="*/ 63 h 360"/>
              <a:gd name="T84" fmla="*/ 31 w 257"/>
              <a:gd name="T85" fmla="*/ 67 h 360"/>
              <a:gd name="T86" fmla="*/ 32 w 257"/>
              <a:gd name="T87" fmla="*/ 70 h 360"/>
              <a:gd name="T88" fmla="*/ 31 w 257"/>
              <a:gd name="T89" fmla="*/ 73 h 360"/>
              <a:gd name="T90" fmla="*/ 30 w 257"/>
              <a:gd name="T91" fmla="*/ 75 h 360"/>
              <a:gd name="T92" fmla="*/ 28 w 257"/>
              <a:gd name="T93" fmla="*/ 76 h 360"/>
              <a:gd name="T94" fmla="*/ 28 w 257"/>
              <a:gd name="T95" fmla="*/ 78 h 360"/>
              <a:gd name="T96" fmla="*/ 28 w 257"/>
              <a:gd name="T97" fmla="*/ 80 h 360"/>
              <a:gd name="T98" fmla="*/ 29 w 257"/>
              <a:gd name="T99" fmla="*/ 81 h 360"/>
              <a:gd name="T100" fmla="*/ 30 w 257"/>
              <a:gd name="T101" fmla="*/ 83 h 360"/>
              <a:gd name="T102" fmla="*/ 30 w 257"/>
              <a:gd name="T103" fmla="*/ 84 h 360"/>
              <a:gd name="T104" fmla="*/ 29 w 257"/>
              <a:gd name="T105" fmla="*/ 86 h 360"/>
              <a:gd name="T106" fmla="*/ 28 w 257"/>
              <a:gd name="T107" fmla="*/ 87 h 360"/>
              <a:gd name="T108" fmla="*/ 25 w 257"/>
              <a:gd name="T109" fmla="*/ 90 h 360"/>
              <a:gd name="T110" fmla="*/ 14 w 257"/>
              <a:gd name="T111" fmla="*/ 91 h 36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57"/>
              <a:gd name="T169" fmla="*/ 0 h 360"/>
              <a:gd name="T170" fmla="*/ 257 w 257"/>
              <a:gd name="T171" fmla="*/ 360 h 360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57" h="360">
                <a:moveTo>
                  <a:pt x="54" y="360"/>
                </a:moveTo>
                <a:lnTo>
                  <a:pt x="50" y="322"/>
                </a:lnTo>
                <a:lnTo>
                  <a:pt x="42" y="289"/>
                </a:lnTo>
                <a:lnTo>
                  <a:pt x="31" y="261"/>
                </a:lnTo>
                <a:lnTo>
                  <a:pt x="19" y="232"/>
                </a:lnTo>
                <a:lnTo>
                  <a:pt x="19" y="153"/>
                </a:lnTo>
                <a:lnTo>
                  <a:pt x="8" y="124"/>
                </a:lnTo>
                <a:lnTo>
                  <a:pt x="0" y="88"/>
                </a:lnTo>
                <a:lnTo>
                  <a:pt x="4" y="82"/>
                </a:lnTo>
                <a:lnTo>
                  <a:pt x="8" y="78"/>
                </a:lnTo>
                <a:lnTo>
                  <a:pt x="19" y="67"/>
                </a:lnTo>
                <a:lnTo>
                  <a:pt x="27" y="49"/>
                </a:lnTo>
                <a:lnTo>
                  <a:pt x="35" y="34"/>
                </a:lnTo>
                <a:lnTo>
                  <a:pt x="42" y="25"/>
                </a:lnTo>
                <a:lnTo>
                  <a:pt x="58" y="13"/>
                </a:lnTo>
                <a:lnTo>
                  <a:pt x="69" y="5"/>
                </a:lnTo>
                <a:lnTo>
                  <a:pt x="87" y="3"/>
                </a:lnTo>
                <a:lnTo>
                  <a:pt x="106" y="0"/>
                </a:lnTo>
                <a:lnTo>
                  <a:pt x="129" y="0"/>
                </a:lnTo>
                <a:lnTo>
                  <a:pt x="140" y="3"/>
                </a:lnTo>
                <a:lnTo>
                  <a:pt x="148" y="9"/>
                </a:lnTo>
                <a:lnTo>
                  <a:pt x="160" y="17"/>
                </a:lnTo>
                <a:lnTo>
                  <a:pt x="167" y="21"/>
                </a:lnTo>
                <a:lnTo>
                  <a:pt x="200" y="21"/>
                </a:lnTo>
                <a:lnTo>
                  <a:pt x="215" y="17"/>
                </a:lnTo>
                <a:lnTo>
                  <a:pt x="234" y="17"/>
                </a:lnTo>
                <a:lnTo>
                  <a:pt x="242" y="21"/>
                </a:lnTo>
                <a:lnTo>
                  <a:pt x="250" y="25"/>
                </a:lnTo>
                <a:lnTo>
                  <a:pt x="254" y="32"/>
                </a:lnTo>
                <a:lnTo>
                  <a:pt x="257" y="42"/>
                </a:lnTo>
                <a:lnTo>
                  <a:pt x="254" y="57"/>
                </a:lnTo>
                <a:lnTo>
                  <a:pt x="250" y="74"/>
                </a:lnTo>
                <a:lnTo>
                  <a:pt x="234" y="113"/>
                </a:lnTo>
                <a:lnTo>
                  <a:pt x="208" y="186"/>
                </a:lnTo>
                <a:lnTo>
                  <a:pt x="196" y="215"/>
                </a:lnTo>
                <a:lnTo>
                  <a:pt x="188" y="228"/>
                </a:lnTo>
                <a:lnTo>
                  <a:pt x="184" y="232"/>
                </a:lnTo>
                <a:lnTo>
                  <a:pt x="177" y="232"/>
                </a:lnTo>
                <a:lnTo>
                  <a:pt x="144" y="232"/>
                </a:lnTo>
                <a:lnTo>
                  <a:pt x="129" y="232"/>
                </a:lnTo>
                <a:lnTo>
                  <a:pt x="110" y="232"/>
                </a:lnTo>
                <a:lnTo>
                  <a:pt x="110" y="249"/>
                </a:lnTo>
                <a:lnTo>
                  <a:pt x="121" y="264"/>
                </a:lnTo>
                <a:lnTo>
                  <a:pt x="125" y="278"/>
                </a:lnTo>
                <a:lnTo>
                  <a:pt x="121" y="289"/>
                </a:lnTo>
                <a:lnTo>
                  <a:pt x="117" y="297"/>
                </a:lnTo>
                <a:lnTo>
                  <a:pt x="110" y="303"/>
                </a:lnTo>
                <a:lnTo>
                  <a:pt x="110" y="311"/>
                </a:lnTo>
                <a:lnTo>
                  <a:pt x="110" y="318"/>
                </a:lnTo>
                <a:lnTo>
                  <a:pt x="113" y="322"/>
                </a:lnTo>
                <a:lnTo>
                  <a:pt x="117" y="328"/>
                </a:lnTo>
                <a:lnTo>
                  <a:pt x="117" y="332"/>
                </a:lnTo>
                <a:lnTo>
                  <a:pt x="113" y="343"/>
                </a:lnTo>
                <a:lnTo>
                  <a:pt x="110" y="347"/>
                </a:lnTo>
                <a:lnTo>
                  <a:pt x="98" y="357"/>
                </a:lnTo>
                <a:lnTo>
                  <a:pt x="54" y="360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62" name="Freeform 509"/>
          <p:cNvSpPr>
            <a:spLocks/>
          </p:cNvSpPr>
          <p:nvPr/>
        </p:nvSpPr>
        <p:spPr bwMode="gray">
          <a:xfrm>
            <a:off x="4569116" y="3062130"/>
            <a:ext cx="831402" cy="813157"/>
          </a:xfrm>
          <a:custGeom>
            <a:avLst/>
            <a:gdLst>
              <a:gd name="T0" fmla="*/ 435 w 2158"/>
              <a:gd name="T1" fmla="*/ 516 h 2090"/>
              <a:gd name="T2" fmla="*/ 344 w 2158"/>
              <a:gd name="T3" fmla="*/ 506 h 2090"/>
              <a:gd name="T4" fmla="*/ 179 w 2158"/>
              <a:gd name="T5" fmla="*/ 469 h 2090"/>
              <a:gd name="T6" fmla="*/ 74 w 2158"/>
              <a:gd name="T7" fmla="*/ 436 h 2090"/>
              <a:gd name="T8" fmla="*/ 70 w 2158"/>
              <a:gd name="T9" fmla="*/ 403 h 2090"/>
              <a:gd name="T10" fmla="*/ 72 w 2158"/>
              <a:gd name="T11" fmla="*/ 392 h 2090"/>
              <a:gd name="T12" fmla="*/ 57 w 2158"/>
              <a:gd name="T13" fmla="*/ 393 h 2090"/>
              <a:gd name="T14" fmla="*/ 26 w 2158"/>
              <a:gd name="T15" fmla="*/ 379 h 2090"/>
              <a:gd name="T16" fmla="*/ 31 w 2158"/>
              <a:gd name="T17" fmla="*/ 354 h 2090"/>
              <a:gd name="T18" fmla="*/ 22 w 2158"/>
              <a:gd name="T19" fmla="*/ 343 h 2090"/>
              <a:gd name="T20" fmla="*/ 21 w 2158"/>
              <a:gd name="T21" fmla="*/ 326 h 2090"/>
              <a:gd name="T22" fmla="*/ 14 w 2158"/>
              <a:gd name="T23" fmla="*/ 313 h 2090"/>
              <a:gd name="T24" fmla="*/ 4 w 2158"/>
              <a:gd name="T25" fmla="*/ 303 h 2090"/>
              <a:gd name="T26" fmla="*/ 11 w 2158"/>
              <a:gd name="T27" fmla="*/ 297 h 2090"/>
              <a:gd name="T28" fmla="*/ 9 w 2158"/>
              <a:gd name="T29" fmla="*/ 282 h 2090"/>
              <a:gd name="T30" fmla="*/ 13 w 2158"/>
              <a:gd name="T31" fmla="*/ 262 h 2090"/>
              <a:gd name="T32" fmla="*/ 18 w 2158"/>
              <a:gd name="T33" fmla="*/ 252 h 2090"/>
              <a:gd name="T34" fmla="*/ 21 w 2158"/>
              <a:gd name="T35" fmla="*/ 236 h 2090"/>
              <a:gd name="T36" fmla="*/ 14 w 2158"/>
              <a:gd name="T37" fmla="*/ 229 h 2090"/>
              <a:gd name="T38" fmla="*/ 17 w 2158"/>
              <a:gd name="T39" fmla="*/ 218 h 2090"/>
              <a:gd name="T40" fmla="*/ 13 w 2158"/>
              <a:gd name="T41" fmla="*/ 205 h 2090"/>
              <a:gd name="T42" fmla="*/ 8 w 2158"/>
              <a:gd name="T43" fmla="*/ 193 h 2090"/>
              <a:gd name="T44" fmla="*/ 3 w 2158"/>
              <a:gd name="T45" fmla="*/ 181 h 2090"/>
              <a:gd name="T46" fmla="*/ 9 w 2158"/>
              <a:gd name="T47" fmla="*/ 173 h 2090"/>
              <a:gd name="T48" fmla="*/ 9 w 2158"/>
              <a:gd name="T49" fmla="*/ 167 h 2090"/>
              <a:gd name="T50" fmla="*/ 10 w 2158"/>
              <a:gd name="T51" fmla="*/ 160 h 2090"/>
              <a:gd name="T52" fmla="*/ 24 w 2158"/>
              <a:gd name="T53" fmla="*/ 152 h 2090"/>
              <a:gd name="T54" fmla="*/ 30 w 2158"/>
              <a:gd name="T55" fmla="*/ 138 h 2090"/>
              <a:gd name="T56" fmla="*/ 21 w 2158"/>
              <a:gd name="T57" fmla="*/ 131 h 2090"/>
              <a:gd name="T58" fmla="*/ 12 w 2158"/>
              <a:gd name="T59" fmla="*/ 129 h 2090"/>
              <a:gd name="T60" fmla="*/ 22 w 2158"/>
              <a:gd name="T61" fmla="*/ 107 h 2090"/>
              <a:gd name="T62" fmla="*/ 26 w 2158"/>
              <a:gd name="T63" fmla="*/ 90 h 2090"/>
              <a:gd name="T64" fmla="*/ 7 w 2158"/>
              <a:gd name="T65" fmla="*/ 72 h 2090"/>
              <a:gd name="T66" fmla="*/ 37 w 2158"/>
              <a:gd name="T67" fmla="*/ 1 h 2090"/>
              <a:gd name="T68" fmla="*/ 58 w 2158"/>
              <a:gd name="T69" fmla="*/ 10 h 2090"/>
              <a:gd name="T70" fmla="*/ 75 w 2158"/>
              <a:gd name="T71" fmla="*/ 5 h 2090"/>
              <a:gd name="T72" fmla="*/ 103 w 2158"/>
              <a:gd name="T73" fmla="*/ 2 h 2090"/>
              <a:gd name="T74" fmla="*/ 147 w 2158"/>
              <a:gd name="T75" fmla="*/ 3 h 2090"/>
              <a:gd name="T76" fmla="*/ 157 w 2158"/>
              <a:gd name="T77" fmla="*/ 6 h 2090"/>
              <a:gd name="T78" fmla="*/ 142 w 2158"/>
              <a:gd name="T79" fmla="*/ 15 h 2090"/>
              <a:gd name="T80" fmla="*/ 144 w 2158"/>
              <a:gd name="T81" fmla="*/ 21 h 2090"/>
              <a:gd name="T82" fmla="*/ 181 w 2158"/>
              <a:gd name="T83" fmla="*/ 11 h 2090"/>
              <a:gd name="T84" fmla="*/ 183 w 2158"/>
              <a:gd name="T85" fmla="*/ 0 h 2090"/>
              <a:gd name="T86" fmla="*/ 190 w 2158"/>
              <a:gd name="T87" fmla="*/ 3 h 2090"/>
              <a:gd name="T88" fmla="*/ 192 w 2158"/>
              <a:gd name="T89" fmla="*/ 49 h 2090"/>
              <a:gd name="T90" fmla="*/ 202 w 2158"/>
              <a:gd name="T91" fmla="*/ 54 h 2090"/>
              <a:gd name="T92" fmla="*/ 213 w 2158"/>
              <a:gd name="T93" fmla="*/ 43 h 2090"/>
              <a:gd name="T94" fmla="*/ 225 w 2158"/>
              <a:gd name="T95" fmla="*/ 44 h 2090"/>
              <a:gd name="T96" fmla="*/ 224 w 2158"/>
              <a:gd name="T97" fmla="*/ 57 h 2090"/>
              <a:gd name="T98" fmla="*/ 217 w 2158"/>
              <a:gd name="T99" fmla="*/ 69 h 2090"/>
              <a:gd name="T100" fmla="*/ 233 w 2158"/>
              <a:gd name="T101" fmla="*/ 65 h 2090"/>
              <a:gd name="T102" fmla="*/ 250 w 2158"/>
              <a:gd name="T103" fmla="*/ 59 h 2090"/>
              <a:gd name="T104" fmla="*/ 241 w 2158"/>
              <a:gd name="T105" fmla="*/ 138 h 2090"/>
              <a:gd name="T106" fmla="*/ 538 w 2158"/>
              <a:gd name="T107" fmla="*/ 345 h 209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158"/>
              <a:gd name="T163" fmla="*/ 0 h 2090"/>
              <a:gd name="T164" fmla="*/ 2158 w 2158"/>
              <a:gd name="T165" fmla="*/ 2090 h 2090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158" h="2090">
                <a:moveTo>
                  <a:pt x="2158" y="2090"/>
                </a:moveTo>
                <a:lnTo>
                  <a:pt x="2071" y="2090"/>
                </a:lnTo>
                <a:lnTo>
                  <a:pt x="1969" y="2086"/>
                </a:lnTo>
                <a:lnTo>
                  <a:pt x="1743" y="2063"/>
                </a:lnTo>
                <a:lnTo>
                  <a:pt x="1549" y="2046"/>
                </a:lnTo>
                <a:lnTo>
                  <a:pt x="1470" y="2034"/>
                </a:lnTo>
                <a:lnTo>
                  <a:pt x="1428" y="2032"/>
                </a:lnTo>
                <a:lnTo>
                  <a:pt x="1380" y="2025"/>
                </a:lnTo>
                <a:lnTo>
                  <a:pt x="1259" y="2004"/>
                </a:lnTo>
                <a:lnTo>
                  <a:pt x="1119" y="1975"/>
                </a:lnTo>
                <a:lnTo>
                  <a:pt x="971" y="1938"/>
                </a:lnTo>
                <a:lnTo>
                  <a:pt x="718" y="1877"/>
                </a:lnTo>
                <a:lnTo>
                  <a:pt x="609" y="1848"/>
                </a:lnTo>
                <a:lnTo>
                  <a:pt x="449" y="1802"/>
                </a:lnTo>
                <a:lnTo>
                  <a:pt x="292" y="1745"/>
                </a:lnTo>
                <a:lnTo>
                  <a:pt x="296" y="1745"/>
                </a:lnTo>
                <a:lnTo>
                  <a:pt x="284" y="1689"/>
                </a:lnTo>
                <a:lnTo>
                  <a:pt x="273" y="1643"/>
                </a:lnTo>
                <a:lnTo>
                  <a:pt x="276" y="1629"/>
                </a:lnTo>
                <a:lnTo>
                  <a:pt x="280" y="1614"/>
                </a:lnTo>
                <a:lnTo>
                  <a:pt x="284" y="1603"/>
                </a:lnTo>
                <a:lnTo>
                  <a:pt x="288" y="1581"/>
                </a:lnTo>
                <a:lnTo>
                  <a:pt x="288" y="1572"/>
                </a:lnTo>
                <a:lnTo>
                  <a:pt x="288" y="1568"/>
                </a:lnTo>
                <a:lnTo>
                  <a:pt x="284" y="1560"/>
                </a:lnTo>
                <a:lnTo>
                  <a:pt x="261" y="1572"/>
                </a:lnTo>
                <a:lnTo>
                  <a:pt x="242" y="1578"/>
                </a:lnTo>
                <a:lnTo>
                  <a:pt x="230" y="1574"/>
                </a:lnTo>
                <a:lnTo>
                  <a:pt x="215" y="1564"/>
                </a:lnTo>
                <a:lnTo>
                  <a:pt x="205" y="1553"/>
                </a:lnTo>
                <a:lnTo>
                  <a:pt x="190" y="1545"/>
                </a:lnTo>
                <a:lnTo>
                  <a:pt x="106" y="1516"/>
                </a:lnTo>
                <a:lnTo>
                  <a:pt x="109" y="1489"/>
                </a:lnTo>
                <a:lnTo>
                  <a:pt x="117" y="1464"/>
                </a:lnTo>
                <a:lnTo>
                  <a:pt x="125" y="1443"/>
                </a:lnTo>
                <a:lnTo>
                  <a:pt x="125" y="1418"/>
                </a:lnTo>
                <a:lnTo>
                  <a:pt x="125" y="1407"/>
                </a:lnTo>
                <a:lnTo>
                  <a:pt x="121" y="1401"/>
                </a:lnTo>
                <a:lnTo>
                  <a:pt x="106" y="1386"/>
                </a:lnTo>
                <a:lnTo>
                  <a:pt x="90" y="1374"/>
                </a:lnTo>
                <a:lnTo>
                  <a:pt x="88" y="1368"/>
                </a:lnTo>
                <a:lnTo>
                  <a:pt x="85" y="1357"/>
                </a:lnTo>
                <a:lnTo>
                  <a:pt x="85" y="1332"/>
                </a:lnTo>
                <a:lnTo>
                  <a:pt x="85" y="1307"/>
                </a:lnTo>
                <a:lnTo>
                  <a:pt x="81" y="1282"/>
                </a:lnTo>
                <a:lnTo>
                  <a:pt x="77" y="1270"/>
                </a:lnTo>
                <a:lnTo>
                  <a:pt x="69" y="1259"/>
                </a:lnTo>
                <a:lnTo>
                  <a:pt x="58" y="1253"/>
                </a:lnTo>
                <a:lnTo>
                  <a:pt x="46" y="1245"/>
                </a:lnTo>
                <a:lnTo>
                  <a:pt x="19" y="1234"/>
                </a:lnTo>
                <a:lnTo>
                  <a:pt x="19" y="1217"/>
                </a:lnTo>
                <a:lnTo>
                  <a:pt x="19" y="1213"/>
                </a:lnTo>
                <a:lnTo>
                  <a:pt x="23" y="1205"/>
                </a:lnTo>
                <a:lnTo>
                  <a:pt x="35" y="1199"/>
                </a:lnTo>
                <a:lnTo>
                  <a:pt x="42" y="1192"/>
                </a:lnTo>
                <a:lnTo>
                  <a:pt x="46" y="1188"/>
                </a:lnTo>
                <a:lnTo>
                  <a:pt x="46" y="1180"/>
                </a:lnTo>
                <a:lnTo>
                  <a:pt x="42" y="1155"/>
                </a:lnTo>
                <a:lnTo>
                  <a:pt x="38" y="1144"/>
                </a:lnTo>
                <a:lnTo>
                  <a:pt x="38" y="1130"/>
                </a:lnTo>
                <a:lnTo>
                  <a:pt x="38" y="1113"/>
                </a:lnTo>
                <a:lnTo>
                  <a:pt x="46" y="1098"/>
                </a:lnTo>
                <a:lnTo>
                  <a:pt x="54" y="1080"/>
                </a:lnTo>
                <a:lnTo>
                  <a:pt x="54" y="1048"/>
                </a:lnTo>
                <a:lnTo>
                  <a:pt x="54" y="1036"/>
                </a:lnTo>
                <a:lnTo>
                  <a:pt x="58" y="1029"/>
                </a:lnTo>
                <a:lnTo>
                  <a:pt x="65" y="1023"/>
                </a:lnTo>
                <a:lnTo>
                  <a:pt x="73" y="1011"/>
                </a:lnTo>
                <a:lnTo>
                  <a:pt x="77" y="1007"/>
                </a:lnTo>
                <a:lnTo>
                  <a:pt x="77" y="998"/>
                </a:lnTo>
                <a:lnTo>
                  <a:pt x="81" y="971"/>
                </a:lnTo>
                <a:lnTo>
                  <a:pt x="85" y="946"/>
                </a:lnTo>
                <a:lnTo>
                  <a:pt x="81" y="940"/>
                </a:lnTo>
                <a:lnTo>
                  <a:pt x="77" y="929"/>
                </a:lnTo>
                <a:lnTo>
                  <a:pt x="69" y="921"/>
                </a:lnTo>
                <a:lnTo>
                  <a:pt x="58" y="917"/>
                </a:lnTo>
                <a:lnTo>
                  <a:pt x="54" y="913"/>
                </a:lnTo>
                <a:lnTo>
                  <a:pt x="54" y="910"/>
                </a:lnTo>
                <a:lnTo>
                  <a:pt x="58" y="896"/>
                </a:lnTo>
                <a:lnTo>
                  <a:pt x="69" y="875"/>
                </a:lnTo>
                <a:lnTo>
                  <a:pt x="73" y="852"/>
                </a:lnTo>
                <a:lnTo>
                  <a:pt x="69" y="842"/>
                </a:lnTo>
                <a:lnTo>
                  <a:pt x="65" y="835"/>
                </a:lnTo>
                <a:lnTo>
                  <a:pt x="54" y="821"/>
                </a:lnTo>
                <a:lnTo>
                  <a:pt x="38" y="814"/>
                </a:lnTo>
                <a:lnTo>
                  <a:pt x="35" y="810"/>
                </a:lnTo>
                <a:lnTo>
                  <a:pt x="35" y="806"/>
                </a:lnTo>
                <a:lnTo>
                  <a:pt x="35" y="773"/>
                </a:lnTo>
                <a:lnTo>
                  <a:pt x="31" y="760"/>
                </a:lnTo>
                <a:lnTo>
                  <a:pt x="23" y="745"/>
                </a:lnTo>
                <a:lnTo>
                  <a:pt x="15" y="735"/>
                </a:lnTo>
                <a:lnTo>
                  <a:pt x="12" y="727"/>
                </a:lnTo>
                <a:lnTo>
                  <a:pt x="12" y="720"/>
                </a:lnTo>
                <a:lnTo>
                  <a:pt x="15" y="712"/>
                </a:lnTo>
                <a:lnTo>
                  <a:pt x="27" y="706"/>
                </a:lnTo>
                <a:lnTo>
                  <a:pt x="38" y="695"/>
                </a:lnTo>
                <a:lnTo>
                  <a:pt x="42" y="687"/>
                </a:lnTo>
                <a:lnTo>
                  <a:pt x="42" y="683"/>
                </a:lnTo>
                <a:lnTo>
                  <a:pt x="42" y="677"/>
                </a:lnTo>
                <a:lnTo>
                  <a:pt x="38" y="670"/>
                </a:lnTo>
                <a:lnTo>
                  <a:pt x="31" y="666"/>
                </a:lnTo>
                <a:lnTo>
                  <a:pt x="31" y="658"/>
                </a:lnTo>
                <a:lnTo>
                  <a:pt x="35" y="649"/>
                </a:lnTo>
                <a:lnTo>
                  <a:pt x="42" y="641"/>
                </a:lnTo>
                <a:lnTo>
                  <a:pt x="65" y="629"/>
                </a:lnTo>
                <a:lnTo>
                  <a:pt x="81" y="626"/>
                </a:lnTo>
                <a:lnTo>
                  <a:pt x="90" y="616"/>
                </a:lnTo>
                <a:lnTo>
                  <a:pt x="98" y="608"/>
                </a:lnTo>
                <a:lnTo>
                  <a:pt x="102" y="593"/>
                </a:lnTo>
                <a:lnTo>
                  <a:pt x="102" y="562"/>
                </a:lnTo>
                <a:lnTo>
                  <a:pt x="109" y="558"/>
                </a:lnTo>
                <a:lnTo>
                  <a:pt x="121" y="554"/>
                </a:lnTo>
                <a:lnTo>
                  <a:pt x="109" y="543"/>
                </a:lnTo>
                <a:lnTo>
                  <a:pt x="98" y="535"/>
                </a:lnTo>
                <a:lnTo>
                  <a:pt x="88" y="530"/>
                </a:lnTo>
                <a:lnTo>
                  <a:pt x="85" y="522"/>
                </a:lnTo>
                <a:lnTo>
                  <a:pt x="81" y="514"/>
                </a:lnTo>
                <a:lnTo>
                  <a:pt x="73" y="518"/>
                </a:lnTo>
                <a:lnTo>
                  <a:pt x="61" y="518"/>
                </a:lnTo>
                <a:lnTo>
                  <a:pt x="50" y="514"/>
                </a:lnTo>
                <a:lnTo>
                  <a:pt x="54" y="493"/>
                </a:lnTo>
                <a:lnTo>
                  <a:pt x="58" y="476"/>
                </a:lnTo>
                <a:lnTo>
                  <a:pt x="81" y="447"/>
                </a:lnTo>
                <a:lnTo>
                  <a:pt x="90" y="428"/>
                </a:lnTo>
                <a:lnTo>
                  <a:pt x="98" y="411"/>
                </a:lnTo>
                <a:lnTo>
                  <a:pt x="106" y="391"/>
                </a:lnTo>
                <a:lnTo>
                  <a:pt x="109" y="370"/>
                </a:lnTo>
                <a:lnTo>
                  <a:pt x="106" y="361"/>
                </a:lnTo>
                <a:lnTo>
                  <a:pt x="98" y="349"/>
                </a:lnTo>
                <a:lnTo>
                  <a:pt x="77" y="324"/>
                </a:lnTo>
                <a:lnTo>
                  <a:pt x="50" y="299"/>
                </a:lnTo>
                <a:lnTo>
                  <a:pt x="31" y="288"/>
                </a:lnTo>
                <a:lnTo>
                  <a:pt x="12" y="284"/>
                </a:lnTo>
                <a:lnTo>
                  <a:pt x="4" y="280"/>
                </a:lnTo>
                <a:lnTo>
                  <a:pt x="0" y="270"/>
                </a:lnTo>
                <a:lnTo>
                  <a:pt x="148" y="4"/>
                </a:lnTo>
                <a:lnTo>
                  <a:pt x="179" y="11"/>
                </a:lnTo>
                <a:lnTo>
                  <a:pt x="202" y="25"/>
                </a:lnTo>
                <a:lnTo>
                  <a:pt x="223" y="36"/>
                </a:lnTo>
                <a:lnTo>
                  <a:pt x="234" y="40"/>
                </a:lnTo>
                <a:lnTo>
                  <a:pt x="250" y="40"/>
                </a:lnTo>
                <a:lnTo>
                  <a:pt x="273" y="36"/>
                </a:lnTo>
                <a:lnTo>
                  <a:pt x="288" y="29"/>
                </a:lnTo>
                <a:lnTo>
                  <a:pt x="303" y="21"/>
                </a:lnTo>
                <a:lnTo>
                  <a:pt x="319" y="17"/>
                </a:lnTo>
                <a:lnTo>
                  <a:pt x="367" y="17"/>
                </a:lnTo>
                <a:lnTo>
                  <a:pt x="397" y="15"/>
                </a:lnTo>
                <a:lnTo>
                  <a:pt x="413" y="11"/>
                </a:lnTo>
                <a:lnTo>
                  <a:pt x="428" y="11"/>
                </a:lnTo>
                <a:lnTo>
                  <a:pt x="578" y="11"/>
                </a:lnTo>
                <a:lnTo>
                  <a:pt x="582" y="11"/>
                </a:lnTo>
                <a:lnTo>
                  <a:pt x="589" y="15"/>
                </a:lnTo>
                <a:lnTo>
                  <a:pt x="609" y="15"/>
                </a:lnTo>
                <a:lnTo>
                  <a:pt x="616" y="15"/>
                </a:lnTo>
                <a:lnTo>
                  <a:pt x="624" y="17"/>
                </a:lnTo>
                <a:lnTo>
                  <a:pt x="628" y="25"/>
                </a:lnTo>
                <a:lnTo>
                  <a:pt x="632" y="32"/>
                </a:lnTo>
                <a:lnTo>
                  <a:pt x="624" y="40"/>
                </a:lnTo>
                <a:lnTo>
                  <a:pt x="609" y="46"/>
                </a:lnTo>
                <a:lnTo>
                  <a:pt x="568" y="61"/>
                </a:lnTo>
                <a:lnTo>
                  <a:pt x="522" y="69"/>
                </a:lnTo>
                <a:lnTo>
                  <a:pt x="499" y="75"/>
                </a:lnTo>
                <a:lnTo>
                  <a:pt x="526" y="78"/>
                </a:lnTo>
                <a:lnTo>
                  <a:pt x="578" y="86"/>
                </a:lnTo>
                <a:lnTo>
                  <a:pt x="655" y="90"/>
                </a:lnTo>
                <a:lnTo>
                  <a:pt x="722" y="61"/>
                </a:lnTo>
                <a:lnTo>
                  <a:pt x="726" y="54"/>
                </a:lnTo>
                <a:lnTo>
                  <a:pt x="726" y="44"/>
                </a:lnTo>
                <a:lnTo>
                  <a:pt x="726" y="25"/>
                </a:lnTo>
                <a:lnTo>
                  <a:pt x="726" y="15"/>
                </a:lnTo>
                <a:lnTo>
                  <a:pt x="726" y="7"/>
                </a:lnTo>
                <a:lnTo>
                  <a:pt x="733" y="0"/>
                </a:lnTo>
                <a:lnTo>
                  <a:pt x="745" y="0"/>
                </a:lnTo>
                <a:lnTo>
                  <a:pt x="749" y="0"/>
                </a:lnTo>
                <a:lnTo>
                  <a:pt x="753" y="4"/>
                </a:lnTo>
                <a:lnTo>
                  <a:pt x="760" y="15"/>
                </a:lnTo>
                <a:lnTo>
                  <a:pt x="760" y="115"/>
                </a:lnTo>
                <a:lnTo>
                  <a:pt x="764" y="144"/>
                </a:lnTo>
                <a:lnTo>
                  <a:pt x="764" y="180"/>
                </a:lnTo>
                <a:lnTo>
                  <a:pt x="768" y="197"/>
                </a:lnTo>
                <a:lnTo>
                  <a:pt x="772" y="209"/>
                </a:lnTo>
                <a:lnTo>
                  <a:pt x="779" y="219"/>
                </a:lnTo>
                <a:lnTo>
                  <a:pt x="791" y="222"/>
                </a:lnTo>
                <a:lnTo>
                  <a:pt x="808" y="219"/>
                </a:lnTo>
                <a:lnTo>
                  <a:pt x="820" y="213"/>
                </a:lnTo>
                <a:lnTo>
                  <a:pt x="831" y="197"/>
                </a:lnTo>
                <a:lnTo>
                  <a:pt x="843" y="188"/>
                </a:lnTo>
                <a:lnTo>
                  <a:pt x="854" y="173"/>
                </a:lnTo>
                <a:lnTo>
                  <a:pt x="866" y="159"/>
                </a:lnTo>
                <a:lnTo>
                  <a:pt x="881" y="148"/>
                </a:lnTo>
                <a:lnTo>
                  <a:pt x="900" y="144"/>
                </a:lnTo>
                <a:lnTo>
                  <a:pt x="900" y="176"/>
                </a:lnTo>
                <a:lnTo>
                  <a:pt x="889" y="194"/>
                </a:lnTo>
                <a:lnTo>
                  <a:pt x="881" y="213"/>
                </a:lnTo>
                <a:lnTo>
                  <a:pt x="893" y="222"/>
                </a:lnTo>
                <a:lnTo>
                  <a:pt x="896" y="230"/>
                </a:lnTo>
                <a:lnTo>
                  <a:pt x="896" y="238"/>
                </a:lnTo>
                <a:lnTo>
                  <a:pt x="893" y="247"/>
                </a:lnTo>
                <a:lnTo>
                  <a:pt x="885" y="259"/>
                </a:lnTo>
                <a:lnTo>
                  <a:pt x="870" y="276"/>
                </a:lnTo>
                <a:lnTo>
                  <a:pt x="900" y="292"/>
                </a:lnTo>
                <a:lnTo>
                  <a:pt x="912" y="292"/>
                </a:lnTo>
                <a:lnTo>
                  <a:pt x="919" y="284"/>
                </a:lnTo>
                <a:lnTo>
                  <a:pt x="933" y="263"/>
                </a:lnTo>
                <a:lnTo>
                  <a:pt x="952" y="245"/>
                </a:lnTo>
                <a:lnTo>
                  <a:pt x="960" y="238"/>
                </a:lnTo>
                <a:lnTo>
                  <a:pt x="971" y="238"/>
                </a:lnTo>
                <a:lnTo>
                  <a:pt x="1002" y="238"/>
                </a:lnTo>
                <a:lnTo>
                  <a:pt x="1029" y="247"/>
                </a:lnTo>
                <a:lnTo>
                  <a:pt x="1046" y="263"/>
                </a:lnTo>
                <a:lnTo>
                  <a:pt x="1062" y="284"/>
                </a:lnTo>
                <a:lnTo>
                  <a:pt x="964" y="554"/>
                </a:lnTo>
                <a:lnTo>
                  <a:pt x="1399" y="1102"/>
                </a:lnTo>
                <a:lnTo>
                  <a:pt x="1505" y="1109"/>
                </a:lnTo>
                <a:lnTo>
                  <a:pt x="1610" y="1245"/>
                </a:lnTo>
                <a:lnTo>
                  <a:pt x="2154" y="1382"/>
                </a:lnTo>
                <a:lnTo>
                  <a:pt x="2158" y="2090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63" name="Freeform 510"/>
          <p:cNvSpPr>
            <a:spLocks/>
          </p:cNvSpPr>
          <p:nvPr/>
        </p:nvSpPr>
        <p:spPr bwMode="gray">
          <a:xfrm>
            <a:off x="5095106" y="2720525"/>
            <a:ext cx="138053" cy="87152"/>
          </a:xfrm>
          <a:custGeom>
            <a:avLst/>
            <a:gdLst>
              <a:gd name="T0" fmla="*/ 41 w 359"/>
              <a:gd name="T1" fmla="*/ 14 h 222"/>
              <a:gd name="T2" fmla="*/ 36 w 359"/>
              <a:gd name="T3" fmla="*/ 19 h 222"/>
              <a:gd name="T4" fmla="*/ 19 w 359"/>
              <a:gd name="T5" fmla="*/ 29 h 222"/>
              <a:gd name="T6" fmla="*/ 9 w 359"/>
              <a:gd name="T7" fmla="*/ 31 h 222"/>
              <a:gd name="T8" fmla="*/ 3 w 359"/>
              <a:gd name="T9" fmla="*/ 33 h 222"/>
              <a:gd name="T10" fmla="*/ 0 w 359"/>
              <a:gd name="T11" fmla="*/ 37 h 222"/>
              <a:gd name="T12" fmla="*/ 1 w 359"/>
              <a:gd name="T13" fmla="*/ 42 h 222"/>
              <a:gd name="T14" fmla="*/ 5 w 359"/>
              <a:gd name="T15" fmla="*/ 47 h 222"/>
              <a:gd name="T16" fmla="*/ 10 w 359"/>
              <a:gd name="T17" fmla="*/ 44 h 222"/>
              <a:gd name="T18" fmla="*/ 13 w 359"/>
              <a:gd name="T19" fmla="*/ 50 h 222"/>
              <a:gd name="T20" fmla="*/ 17 w 359"/>
              <a:gd name="T21" fmla="*/ 50 h 222"/>
              <a:gd name="T22" fmla="*/ 21 w 359"/>
              <a:gd name="T23" fmla="*/ 46 h 222"/>
              <a:gd name="T24" fmla="*/ 22 w 359"/>
              <a:gd name="T25" fmla="*/ 52 h 222"/>
              <a:gd name="T26" fmla="*/ 23 w 359"/>
              <a:gd name="T27" fmla="*/ 57 h 222"/>
              <a:gd name="T28" fmla="*/ 29 w 359"/>
              <a:gd name="T29" fmla="*/ 56 h 222"/>
              <a:gd name="T30" fmla="*/ 33 w 359"/>
              <a:gd name="T31" fmla="*/ 52 h 222"/>
              <a:gd name="T32" fmla="*/ 36 w 359"/>
              <a:gd name="T33" fmla="*/ 46 h 222"/>
              <a:gd name="T34" fmla="*/ 37 w 359"/>
              <a:gd name="T35" fmla="*/ 47 h 222"/>
              <a:gd name="T36" fmla="*/ 37 w 359"/>
              <a:gd name="T37" fmla="*/ 51 h 222"/>
              <a:gd name="T38" fmla="*/ 41 w 359"/>
              <a:gd name="T39" fmla="*/ 50 h 222"/>
              <a:gd name="T40" fmla="*/ 47 w 359"/>
              <a:gd name="T41" fmla="*/ 42 h 222"/>
              <a:gd name="T42" fmla="*/ 52 w 359"/>
              <a:gd name="T43" fmla="*/ 37 h 222"/>
              <a:gd name="T44" fmla="*/ 54 w 359"/>
              <a:gd name="T45" fmla="*/ 31 h 222"/>
              <a:gd name="T46" fmla="*/ 60 w 359"/>
              <a:gd name="T47" fmla="*/ 28 h 222"/>
              <a:gd name="T48" fmla="*/ 56 w 359"/>
              <a:gd name="T49" fmla="*/ 34 h 222"/>
              <a:gd name="T50" fmla="*/ 53 w 359"/>
              <a:gd name="T51" fmla="*/ 40 h 222"/>
              <a:gd name="T52" fmla="*/ 55 w 359"/>
              <a:gd name="T53" fmla="*/ 48 h 222"/>
              <a:gd name="T54" fmla="*/ 61 w 359"/>
              <a:gd name="T55" fmla="*/ 50 h 222"/>
              <a:gd name="T56" fmla="*/ 63 w 359"/>
              <a:gd name="T57" fmla="*/ 49 h 222"/>
              <a:gd name="T58" fmla="*/ 64 w 359"/>
              <a:gd name="T59" fmla="*/ 43 h 222"/>
              <a:gd name="T60" fmla="*/ 67 w 359"/>
              <a:gd name="T61" fmla="*/ 40 h 222"/>
              <a:gd name="T62" fmla="*/ 73 w 359"/>
              <a:gd name="T63" fmla="*/ 39 h 222"/>
              <a:gd name="T64" fmla="*/ 78 w 359"/>
              <a:gd name="T65" fmla="*/ 38 h 222"/>
              <a:gd name="T66" fmla="*/ 79 w 359"/>
              <a:gd name="T67" fmla="*/ 35 h 222"/>
              <a:gd name="T68" fmla="*/ 78 w 359"/>
              <a:gd name="T69" fmla="*/ 32 h 222"/>
              <a:gd name="T70" fmla="*/ 76 w 359"/>
              <a:gd name="T71" fmla="*/ 28 h 222"/>
              <a:gd name="T72" fmla="*/ 82 w 359"/>
              <a:gd name="T73" fmla="*/ 28 h 222"/>
              <a:gd name="T74" fmla="*/ 82 w 359"/>
              <a:gd name="T75" fmla="*/ 18 h 222"/>
              <a:gd name="T76" fmla="*/ 85 w 359"/>
              <a:gd name="T77" fmla="*/ 16 h 222"/>
              <a:gd name="T78" fmla="*/ 88 w 359"/>
              <a:gd name="T79" fmla="*/ 13 h 222"/>
              <a:gd name="T80" fmla="*/ 88 w 359"/>
              <a:gd name="T81" fmla="*/ 7 h 222"/>
              <a:gd name="T82" fmla="*/ 83 w 359"/>
              <a:gd name="T83" fmla="*/ 1 h 222"/>
              <a:gd name="T84" fmla="*/ 78 w 359"/>
              <a:gd name="T85" fmla="*/ 1 h 222"/>
              <a:gd name="T86" fmla="*/ 77 w 359"/>
              <a:gd name="T87" fmla="*/ 5 h 222"/>
              <a:gd name="T88" fmla="*/ 75 w 359"/>
              <a:gd name="T89" fmla="*/ 9 h 222"/>
              <a:gd name="T90" fmla="*/ 73 w 359"/>
              <a:gd name="T91" fmla="*/ 9 h 222"/>
              <a:gd name="T92" fmla="*/ 66 w 359"/>
              <a:gd name="T93" fmla="*/ 6 h 222"/>
              <a:gd name="T94" fmla="*/ 59 w 359"/>
              <a:gd name="T95" fmla="*/ 3 h 222"/>
              <a:gd name="T96" fmla="*/ 54 w 359"/>
              <a:gd name="T97" fmla="*/ 3 h 222"/>
              <a:gd name="T98" fmla="*/ 48 w 359"/>
              <a:gd name="T99" fmla="*/ 7 h 222"/>
              <a:gd name="T100" fmla="*/ 43 w 359"/>
              <a:gd name="T101" fmla="*/ 13 h 222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359"/>
              <a:gd name="T154" fmla="*/ 0 h 222"/>
              <a:gd name="T155" fmla="*/ 359 w 359"/>
              <a:gd name="T156" fmla="*/ 222 h 222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359" h="222">
                <a:moveTo>
                  <a:pt x="173" y="49"/>
                </a:moveTo>
                <a:lnTo>
                  <a:pt x="167" y="53"/>
                </a:lnTo>
                <a:lnTo>
                  <a:pt x="159" y="61"/>
                </a:lnTo>
                <a:lnTo>
                  <a:pt x="144" y="74"/>
                </a:lnTo>
                <a:lnTo>
                  <a:pt x="90" y="111"/>
                </a:lnTo>
                <a:lnTo>
                  <a:pt x="79" y="115"/>
                </a:lnTo>
                <a:lnTo>
                  <a:pt x="63" y="119"/>
                </a:lnTo>
                <a:lnTo>
                  <a:pt x="36" y="122"/>
                </a:lnTo>
                <a:lnTo>
                  <a:pt x="25" y="122"/>
                </a:lnTo>
                <a:lnTo>
                  <a:pt x="15" y="130"/>
                </a:lnTo>
                <a:lnTo>
                  <a:pt x="7" y="136"/>
                </a:lnTo>
                <a:lnTo>
                  <a:pt x="0" y="147"/>
                </a:lnTo>
                <a:lnTo>
                  <a:pt x="19" y="147"/>
                </a:lnTo>
                <a:lnTo>
                  <a:pt x="4" y="165"/>
                </a:lnTo>
                <a:lnTo>
                  <a:pt x="4" y="184"/>
                </a:lnTo>
                <a:lnTo>
                  <a:pt x="23" y="184"/>
                </a:lnTo>
                <a:lnTo>
                  <a:pt x="29" y="176"/>
                </a:lnTo>
                <a:lnTo>
                  <a:pt x="40" y="172"/>
                </a:lnTo>
                <a:lnTo>
                  <a:pt x="48" y="192"/>
                </a:lnTo>
                <a:lnTo>
                  <a:pt x="55" y="197"/>
                </a:lnTo>
                <a:lnTo>
                  <a:pt x="59" y="197"/>
                </a:lnTo>
                <a:lnTo>
                  <a:pt x="71" y="197"/>
                </a:lnTo>
                <a:lnTo>
                  <a:pt x="75" y="192"/>
                </a:lnTo>
                <a:lnTo>
                  <a:pt x="86" y="180"/>
                </a:lnTo>
                <a:lnTo>
                  <a:pt x="90" y="193"/>
                </a:lnTo>
                <a:lnTo>
                  <a:pt x="90" y="205"/>
                </a:lnTo>
                <a:lnTo>
                  <a:pt x="90" y="222"/>
                </a:lnTo>
                <a:lnTo>
                  <a:pt x="94" y="222"/>
                </a:lnTo>
                <a:lnTo>
                  <a:pt x="102" y="222"/>
                </a:lnTo>
                <a:lnTo>
                  <a:pt x="117" y="220"/>
                </a:lnTo>
                <a:lnTo>
                  <a:pt x="125" y="216"/>
                </a:lnTo>
                <a:lnTo>
                  <a:pt x="132" y="205"/>
                </a:lnTo>
                <a:lnTo>
                  <a:pt x="140" y="193"/>
                </a:lnTo>
                <a:lnTo>
                  <a:pt x="144" y="180"/>
                </a:lnTo>
                <a:lnTo>
                  <a:pt x="144" y="165"/>
                </a:lnTo>
                <a:lnTo>
                  <a:pt x="148" y="184"/>
                </a:lnTo>
                <a:lnTo>
                  <a:pt x="148" y="193"/>
                </a:lnTo>
                <a:lnTo>
                  <a:pt x="148" y="201"/>
                </a:lnTo>
                <a:lnTo>
                  <a:pt x="159" y="201"/>
                </a:lnTo>
                <a:lnTo>
                  <a:pt x="167" y="197"/>
                </a:lnTo>
                <a:lnTo>
                  <a:pt x="176" y="184"/>
                </a:lnTo>
                <a:lnTo>
                  <a:pt x="188" y="165"/>
                </a:lnTo>
                <a:lnTo>
                  <a:pt x="188" y="147"/>
                </a:lnTo>
                <a:lnTo>
                  <a:pt x="211" y="144"/>
                </a:lnTo>
                <a:lnTo>
                  <a:pt x="211" y="130"/>
                </a:lnTo>
                <a:lnTo>
                  <a:pt x="219" y="122"/>
                </a:lnTo>
                <a:lnTo>
                  <a:pt x="226" y="115"/>
                </a:lnTo>
                <a:lnTo>
                  <a:pt x="242" y="111"/>
                </a:lnTo>
                <a:lnTo>
                  <a:pt x="234" y="122"/>
                </a:lnTo>
                <a:lnTo>
                  <a:pt x="226" y="132"/>
                </a:lnTo>
                <a:lnTo>
                  <a:pt x="219" y="144"/>
                </a:lnTo>
                <a:lnTo>
                  <a:pt x="215" y="159"/>
                </a:lnTo>
                <a:lnTo>
                  <a:pt x="219" y="176"/>
                </a:lnTo>
                <a:lnTo>
                  <a:pt x="222" y="188"/>
                </a:lnTo>
                <a:lnTo>
                  <a:pt x="234" y="193"/>
                </a:lnTo>
                <a:lnTo>
                  <a:pt x="245" y="197"/>
                </a:lnTo>
                <a:lnTo>
                  <a:pt x="249" y="197"/>
                </a:lnTo>
                <a:lnTo>
                  <a:pt x="253" y="193"/>
                </a:lnTo>
                <a:lnTo>
                  <a:pt x="257" y="184"/>
                </a:lnTo>
                <a:lnTo>
                  <a:pt x="257" y="168"/>
                </a:lnTo>
                <a:lnTo>
                  <a:pt x="261" y="161"/>
                </a:lnTo>
                <a:lnTo>
                  <a:pt x="269" y="159"/>
                </a:lnTo>
                <a:lnTo>
                  <a:pt x="276" y="159"/>
                </a:lnTo>
                <a:lnTo>
                  <a:pt x="295" y="155"/>
                </a:lnTo>
                <a:lnTo>
                  <a:pt x="307" y="155"/>
                </a:lnTo>
                <a:lnTo>
                  <a:pt x="313" y="151"/>
                </a:lnTo>
                <a:lnTo>
                  <a:pt x="317" y="147"/>
                </a:lnTo>
                <a:lnTo>
                  <a:pt x="317" y="136"/>
                </a:lnTo>
                <a:lnTo>
                  <a:pt x="317" y="130"/>
                </a:lnTo>
                <a:lnTo>
                  <a:pt x="313" y="126"/>
                </a:lnTo>
                <a:lnTo>
                  <a:pt x="311" y="119"/>
                </a:lnTo>
                <a:lnTo>
                  <a:pt x="307" y="111"/>
                </a:lnTo>
                <a:lnTo>
                  <a:pt x="320" y="111"/>
                </a:lnTo>
                <a:lnTo>
                  <a:pt x="328" y="111"/>
                </a:lnTo>
                <a:lnTo>
                  <a:pt x="328" y="86"/>
                </a:lnTo>
                <a:lnTo>
                  <a:pt x="328" y="71"/>
                </a:lnTo>
                <a:lnTo>
                  <a:pt x="332" y="65"/>
                </a:lnTo>
                <a:lnTo>
                  <a:pt x="343" y="61"/>
                </a:lnTo>
                <a:lnTo>
                  <a:pt x="351" y="57"/>
                </a:lnTo>
                <a:lnTo>
                  <a:pt x="355" y="49"/>
                </a:lnTo>
                <a:lnTo>
                  <a:pt x="359" y="42"/>
                </a:lnTo>
                <a:lnTo>
                  <a:pt x="355" y="28"/>
                </a:lnTo>
                <a:lnTo>
                  <a:pt x="343" y="13"/>
                </a:lnTo>
                <a:lnTo>
                  <a:pt x="332" y="3"/>
                </a:lnTo>
                <a:lnTo>
                  <a:pt x="317" y="0"/>
                </a:lnTo>
                <a:lnTo>
                  <a:pt x="313" y="3"/>
                </a:lnTo>
                <a:lnTo>
                  <a:pt x="311" y="7"/>
                </a:lnTo>
                <a:lnTo>
                  <a:pt x="311" y="17"/>
                </a:lnTo>
                <a:lnTo>
                  <a:pt x="307" y="32"/>
                </a:lnTo>
                <a:lnTo>
                  <a:pt x="303" y="36"/>
                </a:lnTo>
                <a:lnTo>
                  <a:pt x="299" y="36"/>
                </a:lnTo>
                <a:lnTo>
                  <a:pt x="292" y="36"/>
                </a:lnTo>
                <a:lnTo>
                  <a:pt x="280" y="32"/>
                </a:lnTo>
                <a:lnTo>
                  <a:pt x="265" y="21"/>
                </a:lnTo>
                <a:lnTo>
                  <a:pt x="249" y="13"/>
                </a:lnTo>
                <a:lnTo>
                  <a:pt x="238" y="9"/>
                </a:lnTo>
                <a:lnTo>
                  <a:pt x="230" y="9"/>
                </a:lnTo>
                <a:lnTo>
                  <a:pt x="219" y="9"/>
                </a:lnTo>
                <a:lnTo>
                  <a:pt x="211" y="13"/>
                </a:lnTo>
                <a:lnTo>
                  <a:pt x="192" y="28"/>
                </a:lnTo>
                <a:lnTo>
                  <a:pt x="159" y="53"/>
                </a:lnTo>
                <a:lnTo>
                  <a:pt x="173" y="49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64" name="Freeform 511"/>
          <p:cNvSpPr>
            <a:spLocks/>
          </p:cNvSpPr>
          <p:nvPr/>
        </p:nvSpPr>
        <p:spPr bwMode="gray">
          <a:xfrm>
            <a:off x="5162975" y="2791337"/>
            <a:ext cx="115687" cy="140844"/>
          </a:xfrm>
          <a:custGeom>
            <a:avLst/>
            <a:gdLst>
              <a:gd name="T0" fmla="*/ 65 w 300"/>
              <a:gd name="T1" fmla="*/ 84 h 363"/>
              <a:gd name="T2" fmla="*/ 52 w 300"/>
              <a:gd name="T3" fmla="*/ 89 h 363"/>
              <a:gd name="T4" fmla="*/ 40 w 300"/>
              <a:gd name="T5" fmla="*/ 89 h 363"/>
              <a:gd name="T6" fmla="*/ 31 w 300"/>
              <a:gd name="T7" fmla="*/ 81 h 363"/>
              <a:gd name="T8" fmla="*/ 29 w 300"/>
              <a:gd name="T9" fmla="*/ 77 h 363"/>
              <a:gd name="T10" fmla="*/ 31 w 300"/>
              <a:gd name="T11" fmla="*/ 74 h 363"/>
              <a:gd name="T12" fmla="*/ 43 w 300"/>
              <a:gd name="T13" fmla="*/ 66 h 363"/>
              <a:gd name="T14" fmla="*/ 70 w 300"/>
              <a:gd name="T15" fmla="*/ 63 h 363"/>
              <a:gd name="T16" fmla="*/ 63 w 300"/>
              <a:gd name="T17" fmla="*/ 60 h 363"/>
              <a:gd name="T18" fmla="*/ 52 w 300"/>
              <a:gd name="T19" fmla="*/ 59 h 363"/>
              <a:gd name="T20" fmla="*/ 48 w 300"/>
              <a:gd name="T21" fmla="*/ 61 h 363"/>
              <a:gd name="T22" fmla="*/ 42 w 300"/>
              <a:gd name="T23" fmla="*/ 62 h 363"/>
              <a:gd name="T24" fmla="*/ 30 w 300"/>
              <a:gd name="T25" fmla="*/ 59 h 363"/>
              <a:gd name="T26" fmla="*/ 21 w 300"/>
              <a:gd name="T27" fmla="*/ 55 h 363"/>
              <a:gd name="T28" fmla="*/ 19 w 300"/>
              <a:gd name="T29" fmla="*/ 58 h 363"/>
              <a:gd name="T30" fmla="*/ 13 w 300"/>
              <a:gd name="T31" fmla="*/ 55 h 363"/>
              <a:gd name="T32" fmla="*/ 13 w 300"/>
              <a:gd name="T33" fmla="*/ 50 h 363"/>
              <a:gd name="T34" fmla="*/ 10 w 300"/>
              <a:gd name="T35" fmla="*/ 48 h 363"/>
              <a:gd name="T36" fmla="*/ 4 w 300"/>
              <a:gd name="T37" fmla="*/ 47 h 363"/>
              <a:gd name="T38" fmla="*/ 1 w 300"/>
              <a:gd name="T39" fmla="*/ 44 h 363"/>
              <a:gd name="T40" fmla="*/ 1 w 300"/>
              <a:gd name="T41" fmla="*/ 39 h 363"/>
              <a:gd name="T42" fmla="*/ 5 w 300"/>
              <a:gd name="T43" fmla="*/ 35 h 363"/>
              <a:gd name="T44" fmla="*/ 29 w 300"/>
              <a:gd name="T45" fmla="*/ 34 h 363"/>
              <a:gd name="T46" fmla="*/ 12 w 300"/>
              <a:gd name="T47" fmla="*/ 35 h 363"/>
              <a:gd name="T48" fmla="*/ 10 w 300"/>
              <a:gd name="T49" fmla="*/ 30 h 363"/>
              <a:gd name="T50" fmla="*/ 10 w 300"/>
              <a:gd name="T51" fmla="*/ 27 h 363"/>
              <a:gd name="T52" fmla="*/ 19 w 300"/>
              <a:gd name="T53" fmla="*/ 25 h 363"/>
              <a:gd name="T54" fmla="*/ 23 w 300"/>
              <a:gd name="T55" fmla="*/ 21 h 363"/>
              <a:gd name="T56" fmla="*/ 19 w 300"/>
              <a:gd name="T57" fmla="*/ 16 h 363"/>
              <a:gd name="T58" fmla="*/ 20 w 300"/>
              <a:gd name="T59" fmla="*/ 12 h 363"/>
              <a:gd name="T60" fmla="*/ 24 w 300"/>
              <a:gd name="T61" fmla="*/ 9 h 363"/>
              <a:gd name="T62" fmla="*/ 31 w 300"/>
              <a:gd name="T63" fmla="*/ 10 h 363"/>
              <a:gd name="T64" fmla="*/ 31 w 300"/>
              <a:gd name="T65" fmla="*/ 9 h 363"/>
              <a:gd name="T66" fmla="*/ 28 w 300"/>
              <a:gd name="T67" fmla="*/ 7 h 363"/>
              <a:gd name="T68" fmla="*/ 30 w 300"/>
              <a:gd name="T69" fmla="*/ 5 h 363"/>
              <a:gd name="T70" fmla="*/ 41 w 300"/>
              <a:gd name="T71" fmla="*/ 0 h 363"/>
              <a:gd name="T72" fmla="*/ 46 w 300"/>
              <a:gd name="T73" fmla="*/ 6 h 363"/>
              <a:gd name="T74" fmla="*/ 46 w 300"/>
              <a:gd name="T75" fmla="*/ 13 h 363"/>
              <a:gd name="T76" fmla="*/ 53 w 300"/>
              <a:gd name="T77" fmla="*/ 14 h 363"/>
              <a:gd name="T78" fmla="*/ 59 w 300"/>
              <a:gd name="T79" fmla="*/ 15 h 363"/>
              <a:gd name="T80" fmla="*/ 62 w 300"/>
              <a:gd name="T81" fmla="*/ 19 h 363"/>
              <a:gd name="T82" fmla="*/ 67 w 300"/>
              <a:gd name="T83" fmla="*/ 29 h 363"/>
              <a:gd name="T84" fmla="*/ 68 w 300"/>
              <a:gd name="T85" fmla="*/ 44 h 363"/>
              <a:gd name="T86" fmla="*/ 71 w 300"/>
              <a:gd name="T87" fmla="*/ 81 h 363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00"/>
              <a:gd name="T133" fmla="*/ 0 h 363"/>
              <a:gd name="T134" fmla="*/ 300 w 300"/>
              <a:gd name="T135" fmla="*/ 363 h 363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00" h="363">
                <a:moveTo>
                  <a:pt x="281" y="326"/>
                </a:moveTo>
                <a:lnTo>
                  <a:pt x="258" y="338"/>
                </a:lnTo>
                <a:lnTo>
                  <a:pt x="235" y="351"/>
                </a:lnTo>
                <a:lnTo>
                  <a:pt x="208" y="359"/>
                </a:lnTo>
                <a:lnTo>
                  <a:pt x="179" y="363"/>
                </a:lnTo>
                <a:lnTo>
                  <a:pt x="160" y="359"/>
                </a:lnTo>
                <a:lnTo>
                  <a:pt x="141" y="346"/>
                </a:lnTo>
                <a:lnTo>
                  <a:pt x="125" y="326"/>
                </a:lnTo>
                <a:lnTo>
                  <a:pt x="117" y="317"/>
                </a:lnTo>
                <a:lnTo>
                  <a:pt x="117" y="309"/>
                </a:lnTo>
                <a:lnTo>
                  <a:pt x="117" y="305"/>
                </a:lnTo>
                <a:lnTo>
                  <a:pt x="125" y="298"/>
                </a:lnTo>
                <a:lnTo>
                  <a:pt x="144" y="284"/>
                </a:lnTo>
                <a:lnTo>
                  <a:pt x="175" y="265"/>
                </a:lnTo>
                <a:lnTo>
                  <a:pt x="265" y="265"/>
                </a:lnTo>
                <a:lnTo>
                  <a:pt x="277" y="255"/>
                </a:lnTo>
                <a:lnTo>
                  <a:pt x="277" y="236"/>
                </a:lnTo>
                <a:lnTo>
                  <a:pt x="254" y="240"/>
                </a:lnTo>
                <a:lnTo>
                  <a:pt x="235" y="240"/>
                </a:lnTo>
                <a:lnTo>
                  <a:pt x="208" y="236"/>
                </a:lnTo>
                <a:lnTo>
                  <a:pt x="200" y="240"/>
                </a:lnTo>
                <a:lnTo>
                  <a:pt x="194" y="244"/>
                </a:lnTo>
                <a:lnTo>
                  <a:pt x="187" y="248"/>
                </a:lnTo>
                <a:lnTo>
                  <a:pt x="171" y="248"/>
                </a:lnTo>
                <a:lnTo>
                  <a:pt x="148" y="244"/>
                </a:lnTo>
                <a:lnTo>
                  <a:pt x="121" y="236"/>
                </a:lnTo>
                <a:lnTo>
                  <a:pt x="98" y="227"/>
                </a:lnTo>
                <a:lnTo>
                  <a:pt x="85" y="223"/>
                </a:lnTo>
                <a:lnTo>
                  <a:pt x="81" y="227"/>
                </a:lnTo>
                <a:lnTo>
                  <a:pt x="77" y="234"/>
                </a:lnTo>
                <a:lnTo>
                  <a:pt x="62" y="230"/>
                </a:lnTo>
                <a:lnTo>
                  <a:pt x="54" y="223"/>
                </a:lnTo>
                <a:lnTo>
                  <a:pt x="54" y="211"/>
                </a:lnTo>
                <a:lnTo>
                  <a:pt x="54" y="202"/>
                </a:lnTo>
                <a:lnTo>
                  <a:pt x="50" y="198"/>
                </a:lnTo>
                <a:lnTo>
                  <a:pt x="43" y="194"/>
                </a:lnTo>
                <a:lnTo>
                  <a:pt x="27" y="190"/>
                </a:lnTo>
                <a:lnTo>
                  <a:pt x="16" y="190"/>
                </a:lnTo>
                <a:lnTo>
                  <a:pt x="8" y="186"/>
                </a:lnTo>
                <a:lnTo>
                  <a:pt x="4" y="179"/>
                </a:lnTo>
                <a:lnTo>
                  <a:pt x="0" y="169"/>
                </a:lnTo>
                <a:lnTo>
                  <a:pt x="4" y="157"/>
                </a:lnTo>
                <a:lnTo>
                  <a:pt x="8" y="150"/>
                </a:lnTo>
                <a:lnTo>
                  <a:pt x="23" y="140"/>
                </a:lnTo>
                <a:lnTo>
                  <a:pt x="133" y="140"/>
                </a:lnTo>
                <a:lnTo>
                  <a:pt x="117" y="136"/>
                </a:lnTo>
                <a:lnTo>
                  <a:pt x="102" y="136"/>
                </a:lnTo>
                <a:lnTo>
                  <a:pt x="50" y="140"/>
                </a:lnTo>
                <a:lnTo>
                  <a:pt x="43" y="125"/>
                </a:lnTo>
                <a:lnTo>
                  <a:pt x="43" y="121"/>
                </a:lnTo>
                <a:lnTo>
                  <a:pt x="39" y="115"/>
                </a:lnTo>
                <a:lnTo>
                  <a:pt x="43" y="111"/>
                </a:lnTo>
                <a:lnTo>
                  <a:pt x="50" y="107"/>
                </a:lnTo>
                <a:lnTo>
                  <a:pt x="73" y="100"/>
                </a:lnTo>
                <a:lnTo>
                  <a:pt x="121" y="100"/>
                </a:lnTo>
                <a:lnTo>
                  <a:pt x="93" y="86"/>
                </a:lnTo>
                <a:lnTo>
                  <a:pt x="81" y="75"/>
                </a:lnTo>
                <a:lnTo>
                  <a:pt x="77" y="67"/>
                </a:lnTo>
                <a:lnTo>
                  <a:pt x="77" y="60"/>
                </a:lnTo>
                <a:lnTo>
                  <a:pt x="81" y="50"/>
                </a:lnTo>
                <a:lnTo>
                  <a:pt x="89" y="42"/>
                </a:lnTo>
                <a:lnTo>
                  <a:pt x="98" y="38"/>
                </a:lnTo>
                <a:lnTo>
                  <a:pt x="114" y="38"/>
                </a:lnTo>
                <a:lnTo>
                  <a:pt x="125" y="42"/>
                </a:lnTo>
                <a:lnTo>
                  <a:pt x="141" y="46"/>
                </a:lnTo>
                <a:lnTo>
                  <a:pt x="125" y="38"/>
                </a:lnTo>
                <a:lnTo>
                  <a:pt x="117" y="35"/>
                </a:lnTo>
                <a:lnTo>
                  <a:pt x="114" y="29"/>
                </a:lnTo>
                <a:lnTo>
                  <a:pt x="117" y="25"/>
                </a:lnTo>
                <a:lnTo>
                  <a:pt x="121" y="21"/>
                </a:lnTo>
                <a:lnTo>
                  <a:pt x="141" y="10"/>
                </a:lnTo>
                <a:lnTo>
                  <a:pt x="164" y="2"/>
                </a:lnTo>
                <a:lnTo>
                  <a:pt x="179" y="0"/>
                </a:lnTo>
                <a:lnTo>
                  <a:pt x="187" y="25"/>
                </a:lnTo>
                <a:lnTo>
                  <a:pt x="190" y="35"/>
                </a:lnTo>
                <a:lnTo>
                  <a:pt x="187" y="54"/>
                </a:lnTo>
                <a:lnTo>
                  <a:pt x="200" y="58"/>
                </a:lnTo>
                <a:lnTo>
                  <a:pt x="215" y="58"/>
                </a:lnTo>
                <a:lnTo>
                  <a:pt x="231" y="58"/>
                </a:lnTo>
                <a:lnTo>
                  <a:pt x="238" y="60"/>
                </a:lnTo>
                <a:lnTo>
                  <a:pt x="242" y="63"/>
                </a:lnTo>
                <a:lnTo>
                  <a:pt x="250" y="79"/>
                </a:lnTo>
                <a:lnTo>
                  <a:pt x="258" y="88"/>
                </a:lnTo>
                <a:lnTo>
                  <a:pt x="265" y="117"/>
                </a:lnTo>
                <a:lnTo>
                  <a:pt x="265" y="146"/>
                </a:lnTo>
                <a:lnTo>
                  <a:pt x="269" y="177"/>
                </a:lnTo>
                <a:lnTo>
                  <a:pt x="300" y="186"/>
                </a:lnTo>
                <a:lnTo>
                  <a:pt x="281" y="326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65" name="Freeform 512"/>
          <p:cNvSpPr>
            <a:spLocks/>
          </p:cNvSpPr>
          <p:nvPr/>
        </p:nvSpPr>
        <p:spPr bwMode="gray">
          <a:xfrm>
            <a:off x="5139066" y="2806121"/>
            <a:ext cx="46275" cy="31126"/>
          </a:xfrm>
          <a:custGeom>
            <a:avLst/>
            <a:gdLst>
              <a:gd name="T0" fmla="*/ 19 w 121"/>
              <a:gd name="T1" fmla="*/ 3 h 81"/>
              <a:gd name="T2" fmla="*/ 8 w 121"/>
              <a:gd name="T3" fmla="*/ 8 h 81"/>
              <a:gd name="T4" fmla="*/ 3 w 121"/>
              <a:gd name="T5" fmla="*/ 11 h 81"/>
              <a:gd name="T6" fmla="*/ 0 w 121"/>
              <a:gd name="T7" fmla="*/ 15 h 81"/>
              <a:gd name="T8" fmla="*/ 4 w 121"/>
              <a:gd name="T9" fmla="*/ 18 h 81"/>
              <a:gd name="T10" fmla="*/ 7 w 121"/>
              <a:gd name="T11" fmla="*/ 20 h 81"/>
              <a:gd name="T12" fmla="*/ 10 w 121"/>
              <a:gd name="T13" fmla="*/ 20 h 81"/>
              <a:gd name="T14" fmla="*/ 13 w 121"/>
              <a:gd name="T15" fmla="*/ 20 h 81"/>
              <a:gd name="T16" fmla="*/ 15 w 121"/>
              <a:gd name="T17" fmla="*/ 18 h 81"/>
              <a:gd name="T18" fmla="*/ 21 w 121"/>
              <a:gd name="T19" fmla="*/ 13 h 81"/>
              <a:gd name="T20" fmla="*/ 27 w 121"/>
              <a:gd name="T21" fmla="*/ 6 h 81"/>
              <a:gd name="T22" fmla="*/ 30 w 121"/>
              <a:gd name="T23" fmla="*/ 0 h 81"/>
              <a:gd name="T24" fmla="*/ 28 w 121"/>
              <a:gd name="T25" fmla="*/ 0 h 81"/>
              <a:gd name="T26" fmla="*/ 27 w 121"/>
              <a:gd name="T27" fmla="*/ 0 h 81"/>
              <a:gd name="T28" fmla="*/ 25 w 121"/>
              <a:gd name="T29" fmla="*/ 0 h 81"/>
              <a:gd name="T30" fmla="*/ 21 w 121"/>
              <a:gd name="T31" fmla="*/ 1 h 81"/>
              <a:gd name="T32" fmla="*/ 20 w 121"/>
              <a:gd name="T33" fmla="*/ 2 h 81"/>
              <a:gd name="T34" fmla="*/ 19 w 121"/>
              <a:gd name="T35" fmla="*/ 3 h 81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21"/>
              <a:gd name="T55" fmla="*/ 0 h 81"/>
              <a:gd name="T56" fmla="*/ 121 w 121"/>
              <a:gd name="T57" fmla="*/ 81 h 81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21" h="81">
                <a:moveTo>
                  <a:pt x="79" y="12"/>
                </a:moveTo>
                <a:lnTo>
                  <a:pt x="35" y="33"/>
                </a:lnTo>
                <a:lnTo>
                  <a:pt x="15" y="45"/>
                </a:lnTo>
                <a:lnTo>
                  <a:pt x="0" y="60"/>
                </a:lnTo>
                <a:lnTo>
                  <a:pt x="19" y="73"/>
                </a:lnTo>
                <a:lnTo>
                  <a:pt x="31" y="81"/>
                </a:lnTo>
                <a:lnTo>
                  <a:pt x="42" y="81"/>
                </a:lnTo>
                <a:lnTo>
                  <a:pt x="52" y="81"/>
                </a:lnTo>
                <a:lnTo>
                  <a:pt x="63" y="73"/>
                </a:lnTo>
                <a:lnTo>
                  <a:pt x="86" y="52"/>
                </a:lnTo>
                <a:lnTo>
                  <a:pt x="109" y="27"/>
                </a:lnTo>
                <a:lnTo>
                  <a:pt x="121" y="0"/>
                </a:lnTo>
                <a:lnTo>
                  <a:pt x="113" y="0"/>
                </a:lnTo>
                <a:lnTo>
                  <a:pt x="109" y="0"/>
                </a:lnTo>
                <a:lnTo>
                  <a:pt x="102" y="0"/>
                </a:lnTo>
                <a:lnTo>
                  <a:pt x="86" y="4"/>
                </a:lnTo>
                <a:lnTo>
                  <a:pt x="83" y="8"/>
                </a:lnTo>
                <a:lnTo>
                  <a:pt x="79" y="12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66" name="Freeform 513"/>
          <p:cNvSpPr>
            <a:spLocks/>
          </p:cNvSpPr>
          <p:nvPr/>
        </p:nvSpPr>
        <p:spPr bwMode="gray">
          <a:xfrm>
            <a:off x="5063484" y="2986650"/>
            <a:ext cx="183556" cy="215545"/>
          </a:xfrm>
          <a:custGeom>
            <a:avLst/>
            <a:gdLst>
              <a:gd name="T0" fmla="*/ 3 w 476"/>
              <a:gd name="T1" fmla="*/ 129 h 555"/>
              <a:gd name="T2" fmla="*/ 5 w 476"/>
              <a:gd name="T3" fmla="*/ 124 h 555"/>
              <a:gd name="T4" fmla="*/ 9 w 476"/>
              <a:gd name="T5" fmla="*/ 122 h 555"/>
              <a:gd name="T6" fmla="*/ 47 w 476"/>
              <a:gd name="T7" fmla="*/ 121 h 555"/>
              <a:gd name="T8" fmla="*/ 53 w 476"/>
              <a:gd name="T9" fmla="*/ 126 h 555"/>
              <a:gd name="T10" fmla="*/ 65 w 476"/>
              <a:gd name="T11" fmla="*/ 129 h 555"/>
              <a:gd name="T12" fmla="*/ 82 w 476"/>
              <a:gd name="T13" fmla="*/ 131 h 555"/>
              <a:gd name="T14" fmla="*/ 91 w 476"/>
              <a:gd name="T15" fmla="*/ 132 h 555"/>
              <a:gd name="T16" fmla="*/ 75 w 476"/>
              <a:gd name="T17" fmla="*/ 121 h 555"/>
              <a:gd name="T18" fmla="*/ 59 w 476"/>
              <a:gd name="T19" fmla="*/ 110 h 555"/>
              <a:gd name="T20" fmla="*/ 26 w 476"/>
              <a:gd name="T21" fmla="*/ 107 h 555"/>
              <a:gd name="T22" fmla="*/ 9 w 476"/>
              <a:gd name="T23" fmla="*/ 99 h 555"/>
              <a:gd name="T24" fmla="*/ 1 w 476"/>
              <a:gd name="T25" fmla="*/ 91 h 555"/>
              <a:gd name="T26" fmla="*/ 1 w 476"/>
              <a:gd name="T27" fmla="*/ 82 h 555"/>
              <a:gd name="T28" fmla="*/ 10 w 476"/>
              <a:gd name="T29" fmla="*/ 77 h 555"/>
              <a:gd name="T30" fmla="*/ 31 w 476"/>
              <a:gd name="T31" fmla="*/ 76 h 555"/>
              <a:gd name="T32" fmla="*/ 42 w 476"/>
              <a:gd name="T33" fmla="*/ 74 h 555"/>
              <a:gd name="T34" fmla="*/ 45 w 476"/>
              <a:gd name="T35" fmla="*/ 71 h 555"/>
              <a:gd name="T36" fmla="*/ 38 w 476"/>
              <a:gd name="T37" fmla="*/ 70 h 555"/>
              <a:gd name="T38" fmla="*/ 21 w 476"/>
              <a:gd name="T39" fmla="*/ 71 h 555"/>
              <a:gd name="T40" fmla="*/ 13 w 476"/>
              <a:gd name="T41" fmla="*/ 70 h 555"/>
              <a:gd name="T42" fmla="*/ 9 w 476"/>
              <a:gd name="T43" fmla="*/ 67 h 555"/>
              <a:gd name="T44" fmla="*/ 9 w 476"/>
              <a:gd name="T45" fmla="*/ 62 h 555"/>
              <a:gd name="T46" fmla="*/ 14 w 476"/>
              <a:gd name="T47" fmla="*/ 58 h 555"/>
              <a:gd name="T48" fmla="*/ 10 w 476"/>
              <a:gd name="T49" fmla="*/ 56 h 555"/>
              <a:gd name="T50" fmla="*/ 4 w 476"/>
              <a:gd name="T51" fmla="*/ 55 h 555"/>
              <a:gd name="T52" fmla="*/ 1 w 476"/>
              <a:gd name="T53" fmla="*/ 54 h 555"/>
              <a:gd name="T54" fmla="*/ 1 w 476"/>
              <a:gd name="T55" fmla="*/ 52 h 555"/>
              <a:gd name="T56" fmla="*/ 3 w 476"/>
              <a:gd name="T57" fmla="*/ 46 h 555"/>
              <a:gd name="T58" fmla="*/ 10 w 476"/>
              <a:gd name="T59" fmla="*/ 39 h 555"/>
              <a:gd name="T60" fmla="*/ 16 w 476"/>
              <a:gd name="T61" fmla="*/ 36 h 555"/>
              <a:gd name="T62" fmla="*/ 20 w 476"/>
              <a:gd name="T63" fmla="*/ 25 h 555"/>
              <a:gd name="T64" fmla="*/ 22 w 476"/>
              <a:gd name="T65" fmla="*/ 19 h 555"/>
              <a:gd name="T66" fmla="*/ 26 w 476"/>
              <a:gd name="T67" fmla="*/ 16 h 555"/>
              <a:gd name="T68" fmla="*/ 39 w 476"/>
              <a:gd name="T69" fmla="*/ 11 h 555"/>
              <a:gd name="T70" fmla="*/ 76 w 476"/>
              <a:gd name="T71" fmla="*/ 1 h 555"/>
              <a:gd name="T72" fmla="*/ 80 w 476"/>
              <a:gd name="T73" fmla="*/ 1 h 555"/>
              <a:gd name="T74" fmla="*/ 82 w 476"/>
              <a:gd name="T75" fmla="*/ 7 h 555"/>
              <a:gd name="T76" fmla="*/ 82 w 476"/>
              <a:gd name="T77" fmla="*/ 14 h 555"/>
              <a:gd name="T78" fmla="*/ 80 w 476"/>
              <a:gd name="T79" fmla="*/ 22 h 555"/>
              <a:gd name="T80" fmla="*/ 75 w 476"/>
              <a:gd name="T81" fmla="*/ 32 h 555"/>
              <a:gd name="T82" fmla="*/ 83 w 476"/>
              <a:gd name="T83" fmla="*/ 28 h 555"/>
              <a:gd name="T84" fmla="*/ 90 w 476"/>
              <a:gd name="T85" fmla="*/ 20 h 555"/>
              <a:gd name="T86" fmla="*/ 95 w 476"/>
              <a:gd name="T87" fmla="*/ 19 h 555"/>
              <a:gd name="T88" fmla="*/ 105 w 476"/>
              <a:gd name="T89" fmla="*/ 26 h 555"/>
              <a:gd name="T90" fmla="*/ 113 w 476"/>
              <a:gd name="T91" fmla="*/ 34 h 555"/>
              <a:gd name="T92" fmla="*/ 114 w 476"/>
              <a:gd name="T93" fmla="*/ 38 h 555"/>
              <a:gd name="T94" fmla="*/ 109 w 476"/>
              <a:gd name="T95" fmla="*/ 44 h 555"/>
              <a:gd name="T96" fmla="*/ 103 w 476"/>
              <a:gd name="T97" fmla="*/ 51 h 555"/>
              <a:gd name="T98" fmla="*/ 108 w 476"/>
              <a:gd name="T99" fmla="*/ 51 h 555"/>
              <a:gd name="T100" fmla="*/ 113 w 476"/>
              <a:gd name="T101" fmla="*/ 48 h 555"/>
              <a:gd name="T102" fmla="*/ 118 w 476"/>
              <a:gd name="T103" fmla="*/ 45 h 555"/>
              <a:gd name="T104" fmla="*/ 99 w 476"/>
              <a:gd name="T105" fmla="*/ 138 h 555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476"/>
              <a:gd name="T160" fmla="*/ 0 h 555"/>
              <a:gd name="T161" fmla="*/ 476 w 476"/>
              <a:gd name="T162" fmla="*/ 555 h 555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476" h="555">
                <a:moveTo>
                  <a:pt x="12" y="543"/>
                </a:moveTo>
                <a:lnTo>
                  <a:pt x="12" y="518"/>
                </a:lnTo>
                <a:lnTo>
                  <a:pt x="12" y="507"/>
                </a:lnTo>
                <a:lnTo>
                  <a:pt x="19" y="499"/>
                </a:lnTo>
                <a:lnTo>
                  <a:pt x="27" y="493"/>
                </a:lnTo>
                <a:lnTo>
                  <a:pt x="35" y="489"/>
                </a:lnTo>
                <a:lnTo>
                  <a:pt x="60" y="486"/>
                </a:lnTo>
                <a:lnTo>
                  <a:pt x="188" y="486"/>
                </a:lnTo>
                <a:lnTo>
                  <a:pt x="196" y="499"/>
                </a:lnTo>
                <a:lnTo>
                  <a:pt x="211" y="507"/>
                </a:lnTo>
                <a:lnTo>
                  <a:pt x="234" y="514"/>
                </a:lnTo>
                <a:lnTo>
                  <a:pt x="257" y="518"/>
                </a:lnTo>
                <a:lnTo>
                  <a:pt x="305" y="522"/>
                </a:lnTo>
                <a:lnTo>
                  <a:pt x="325" y="526"/>
                </a:lnTo>
                <a:lnTo>
                  <a:pt x="344" y="528"/>
                </a:lnTo>
                <a:lnTo>
                  <a:pt x="363" y="528"/>
                </a:lnTo>
                <a:lnTo>
                  <a:pt x="328" y="510"/>
                </a:lnTo>
                <a:lnTo>
                  <a:pt x="298" y="486"/>
                </a:lnTo>
                <a:lnTo>
                  <a:pt x="269" y="464"/>
                </a:lnTo>
                <a:lnTo>
                  <a:pt x="234" y="441"/>
                </a:lnTo>
                <a:lnTo>
                  <a:pt x="152" y="441"/>
                </a:lnTo>
                <a:lnTo>
                  <a:pt x="102" y="428"/>
                </a:lnTo>
                <a:lnTo>
                  <a:pt x="54" y="411"/>
                </a:lnTo>
                <a:lnTo>
                  <a:pt x="35" y="399"/>
                </a:lnTo>
                <a:lnTo>
                  <a:pt x="16" y="386"/>
                </a:lnTo>
                <a:lnTo>
                  <a:pt x="4" y="367"/>
                </a:lnTo>
                <a:lnTo>
                  <a:pt x="0" y="345"/>
                </a:lnTo>
                <a:lnTo>
                  <a:pt x="4" y="330"/>
                </a:lnTo>
                <a:lnTo>
                  <a:pt x="16" y="320"/>
                </a:lnTo>
                <a:lnTo>
                  <a:pt x="39" y="309"/>
                </a:lnTo>
                <a:lnTo>
                  <a:pt x="106" y="309"/>
                </a:lnTo>
                <a:lnTo>
                  <a:pt x="125" y="305"/>
                </a:lnTo>
                <a:lnTo>
                  <a:pt x="148" y="301"/>
                </a:lnTo>
                <a:lnTo>
                  <a:pt x="167" y="299"/>
                </a:lnTo>
                <a:lnTo>
                  <a:pt x="185" y="288"/>
                </a:lnTo>
                <a:lnTo>
                  <a:pt x="177" y="284"/>
                </a:lnTo>
                <a:lnTo>
                  <a:pt x="169" y="280"/>
                </a:lnTo>
                <a:lnTo>
                  <a:pt x="152" y="280"/>
                </a:lnTo>
                <a:lnTo>
                  <a:pt x="106" y="284"/>
                </a:lnTo>
                <a:lnTo>
                  <a:pt x="83" y="284"/>
                </a:lnTo>
                <a:lnTo>
                  <a:pt x="56" y="280"/>
                </a:lnTo>
                <a:lnTo>
                  <a:pt x="50" y="280"/>
                </a:lnTo>
                <a:lnTo>
                  <a:pt x="42" y="272"/>
                </a:lnTo>
                <a:lnTo>
                  <a:pt x="35" y="271"/>
                </a:lnTo>
                <a:lnTo>
                  <a:pt x="35" y="259"/>
                </a:lnTo>
                <a:lnTo>
                  <a:pt x="35" y="251"/>
                </a:lnTo>
                <a:lnTo>
                  <a:pt x="42" y="244"/>
                </a:lnTo>
                <a:lnTo>
                  <a:pt x="54" y="234"/>
                </a:lnTo>
                <a:lnTo>
                  <a:pt x="46" y="234"/>
                </a:lnTo>
                <a:lnTo>
                  <a:pt x="39" y="226"/>
                </a:lnTo>
                <a:lnTo>
                  <a:pt x="27" y="215"/>
                </a:lnTo>
                <a:lnTo>
                  <a:pt x="16" y="223"/>
                </a:lnTo>
                <a:lnTo>
                  <a:pt x="8" y="226"/>
                </a:lnTo>
                <a:lnTo>
                  <a:pt x="4" y="219"/>
                </a:lnTo>
                <a:lnTo>
                  <a:pt x="0" y="215"/>
                </a:lnTo>
                <a:lnTo>
                  <a:pt x="4" y="209"/>
                </a:lnTo>
                <a:lnTo>
                  <a:pt x="4" y="198"/>
                </a:lnTo>
                <a:lnTo>
                  <a:pt x="12" y="186"/>
                </a:lnTo>
                <a:lnTo>
                  <a:pt x="27" y="165"/>
                </a:lnTo>
                <a:lnTo>
                  <a:pt x="39" y="157"/>
                </a:lnTo>
                <a:lnTo>
                  <a:pt x="50" y="152"/>
                </a:lnTo>
                <a:lnTo>
                  <a:pt x="64" y="144"/>
                </a:lnTo>
                <a:lnTo>
                  <a:pt x="79" y="144"/>
                </a:lnTo>
                <a:lnTo>
                  <a:pt x="79" y="100"/>
                </a:lnTo>
                <a:lnTo>
                  <a:pt x="79" y="90"/>
                </a:lnTo>
                <a:lnTo>
                  <a:pt x="87" y="79"/>
                </a:lnTo>
                <a:lnTo>
                  <a:pt x="94" y="73"/>
                </a:lnTo>
                <a:lnTo>
                  <a:pt x="102" y="65"/>
                </a:lnTo>
                <a:lnTo>
                  <a:pt x="129" y="54"/>
                </a:lnTo>
                <a:lnTo>
                  <a:pt x="156" y="44"/>
                </a:lnTo>
                <a:lnTo>
                  <a:pt x="223" y="25"/>
                </a:lnTo>
                <a:lnTo>
                  <a:pt x="302" y="4"/>
                </a:lnTo>
                <a:lnTo>
                  <a:pt x="309" y="0"/>
                </a:lnTo>
                <a:lnTo>
                  <a:pt x="317" y="4"/>
                </a:lnTo>
                <a:lnTo>
                  <a:pt x="325" y="15"/>
                </a:lnTo>
                <a:lnTo>
                  <a:pt x="328" y="29"/>
                </a:lnTo>
                <a:lnTo>
                  <a:pt x="328" y="44"/>
                </a:lnTo>
                <a:lnTo>
                  <a:pt x="328" y="57"/>
                </a:lnTo>
                <a:lnTo>
                  <a:pt x="325" y="73"/>
                </a:lnTo>
                <a:lnTo>
                  <a:pt x="317" y="90"/>
                </a:lnTo>
                <a:lnTo>
                  <a:pt x="305" y="107"/>
                </a:lnTo>
                <a:lnTo>
                  <a:pt x="298" y="129"/>
                </a:lnTo>
                <a:lnTo>
                  <a:pt x="317" y="129"/>
                </a:lnTo>
                <a:lnTo>
                  <a:pt x="332" y="115"/>
                </a:lnTo>
                <a:lnTo>
                  <a:pt x="344" y="98"/>
                </a:lnTo>
                <a:lnTo>
                  <a:pt x="359" y="82"/>
                </a:lnTo>
                <a:lnTo>
                  <a:pt x="367" y="79"/>
                </a:lnTo>
                <a:lnTo>
                  <a:pt x="378" y="79"/>
                </a:lnTo>
                <a:lnTo>
                  <a:pt x="394" y="86"/>
                </a:lnTo>
                <a:lnTo>
                  <a:pt x="419" y="104"/>
                </a:lnTo>
                <a:lnTo>
                  <a:pt x="442" y="127"/>
                </a:lnTo>
                <a:lnTo>
                  <a:pt x="449" y="136"/>
                </a:lnTo>
                <a:lnTo>
                  <a:pt x="453" y="144"/>
                </a:lnTo>
                <a:lnTo>
                  <a:pt x="453" y="152"/>
                </a:lnTo>
                <a:lnTo>
                  <a:pt x="449" y="161"/>
                </a:lnTo>
                <a:lnTo>
                  <a:pt x="434" y="176"/>
                </a:lnTo>
                <a:lnTo>
                  <a:pt x="423" y="194"/>
                </a:lnTo>
                <a:lnTo>
                  <a:pt x="411" y="205"/>
                </a:lnTo>
                <a:lnTo>
                  <a:pt x="426" y="205"/>
                </a:lnTo>
                <a:lnTo>
                  <a:pt x="430" y="205"/>
                </a:lnTo>
                <a:lnTo>
                  <a:pt x="438" y="201"/>
                </a:lnTo>
                <a:lnTo>
                  <a:pt x="449" y="194"/>
                </a:lnTo>
                <a:lnTo>
                  <a:pt x="461" y="184"/>
                </a:lnTo>
                <a:lnTo>
                  <a:pt x="469" y="180"/>
                </a:lnTo>
                <a:lnTo>
                  <a:pt x="476" y="180"/>
                </a:lnTo>
                <a:lnTo>
                  <a:pt x="394" y="555"/>
                </a:lnTo>
                <a:lnTo>
                  <a:pt x="12" y="543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67" name="Freeform 514"/>
          <p:cNvSpPr>
            <a:spLocks/>
          </p:cNvSpPr>
          <p:nvPr/>
        </p:nvSpPr>
        <p:spPr bwMode="gray">
          <a:xfrm>
            <a:off x="4940085" y="2869150"/>
            <a:ext cx="233687" cy="213210"/>
          </a:xfrm>
          <a:custGeom>
            <a:avLst/>
            <a:gdLst>
              <a:gd name="T0" fmla="*/ 83 w 604"/>
              <a:gd name="T1" fmla="*/ 6 h 547"/>
              <a:gd name="T2" fmla="*/ 63 w 604"/>
              <a:gd name="T3" fmla="*/ 1 h 547"/>
              <a:gd name="T4" fmla="*/ 53 w 604"/>
              <a:gd name="T5" fmla="*/ 0 h 547"/>
              <a:gd name="T6" fmla="*/ 52 w 604"/>
              <a:gd name="T7" fmla="*/ 10 h 547"/>
              <a:gd name="T8" fmla="*/ 50 w 604"/>
              <a:gd name="T9" fmla="*/ 18 h 547"/>
              <a:gd name="T10" fmla="*/ 52 w 604"/>
              <a:gd name="T11" fmla="*/ 23 h 547"/>
              <a:gd name="T12" fmla="*/ 54 w 604"/>
              <a:gd name="T13" fmla="*/ 26 h 547"/>
              <a:gd name="T14" fmla="*/ 53 w 604"/>
              <a:gd name="T15" fmla="*/ 30 h 547"/>
              <a:gd name="T16" fmla="*/ 45 w 604"/>
              <a:gd name="T17" fmla="*/ 35 h 547"/>
              <a:gd name="T18" fmla="*/ 36 w 604"/>
              <a:gd name="T19" fmla="*/ 44 h 547"/>
              <a:gd name="T20" fmla="*/ 23 w 604"/>
              <a:gd name="T21" fmla="*/ 63 h 547"/>
              <a:gd name="T22" fmla="*/ 0 w 604"/>
              <a:gd name="T23" fmla="*/ 86 h 547"/>
              <a:gd name="T24" fmla="*/ 17 w 604"/>
              <a:gd name="T25" fmla="*/ 109 h 547"/>
              <a:gd name="T26" fmla="*/ 19 w 604"/>
              <a:gd name="T27" fmla="*/ 118 h 547"/>
              <a:gd name="T28" fmla="*/ 18 w 604"/>
              <a:gd name="T29" fmla="*/ 126 h 547"/>
              <a:gd name="T30" fmla="*/ 16 w 604"/>
              <a:gd name="T31" fmla="*/ 132 h 547"/>
              <a:gd name="T32" fmla="*/ 19 w 604"/>
              <a:gd name="T33" fmla="*/ 135 h 547"/>
              <a:gd name="T34" fmla="*/ 23 w 604"/>
              <a:gd name="T35" fmla="*/ 137 h 547"/>
              <a:gd name="T36" fmla="*/ 29 w 604"/>
              <a:gd name="T37" fmla="*/ 135 h 547"/>
              <a:gd name="T38" fmla="*/ 38 w 604"/>
              <a:gd name="T39" fmla="*/ 128 h 547"/>
              <a:gd name="T40" fmla="*/ 44 w 604"/>
              <a:gd name="T41" fmla="*/ 127 h 547"/>
              <a:gd name="T42" fmla="*/ 47 w 604"/>
              <a:gd name="T43" fmla="*/ 128 h 547"/>
              <a:gd name="T44" fmla="*/ 51 w 604"/>
              <a:gd name="T45" fmla="*/ 134 h 547"/>
              <a:gd name="T46" fmla="*/ 53 w 604"/>
              <a:gd name="T47" fmla="*/ 135 h 547"/>
              <a:gd name="T48" fmla="*/ 59 w 604"/>
              <a:gd name="T49" fmla="*/ 133 h 547"/>
              <a:gd name="T50" fmla="*/ 62 w 604"/>
              <a:gd name="T51" fmla="*/ 129 h 547"/>
              <a:gd name="T52" fmla="*/ 67 w 604"/>
              <a:gd name="T53" fmla="*/ 114 h 547"/>
              <a:gd name="T54" fmla="*/ 77 w 604"/>
              <a:gd name="T55" fmla="*/ 105 h 547"/>
              <a:gd name="T56" fmla="*/ 99 w 604"/>
              <a:gd name="T57" fmla="*/ 89 h 547"/>
              <a:gd name="T58" fmla="*/ 114 w 604"/>
              <a:gd name="T59" fmla="*/ 79 h 547"/>
              <a:gd name="T60" fmla="*/ 130 w 604"/>
              <a:gd name="T61" fmla="*/ 76 h 547"/>
              <a:gd name="T62" fmla="*/ 144 w 604"/>
              <a:gd name="T63" fmla="*/ 72 h 547"/>
              <a:gd name="T64" fmla="*/ 151 w 604"/>
              <a:gd name="T65" fmla="*/ 68 h 547"/>
              <a:gd name="T66" fmla="*/ 151 w 604"/>
              <a:gd name="T67" fmla="*/ 64 h 547"/>
              <a:gd name="T68" fmla="*/ 147 w 604"/>
              <a:gd name="T69" fmla="*/ 61 h 547"/>
              <a:gd name="T70" fmla="*/ 139 w 604"/>
              <a:gd name="T71" fmla="*/ 41 h 547"/>
              <a:gd name="T72" fmla="*/ 133 w 604"/>
              <a:gd name="T73" fmla="*/ 32 h 547"/>
              <a:gd name="T74" fmla="*/ 123 w 604"/>
              <a:gd name="T75" fmla="*/ 30 h 547"/>
              <a:gd name="T76" fmla="*/ 118 w 604"/>
              <a:gd name="T77" fmla="*/ 31 h 547"/>
              <a:gd name="T78" fmla="*/ 112 w 604"/>
              <a:gd name="T79" fmla="*/ 33 h 547"/>
              <a:gd name="T80" fmla="*/ 112 w 604"/>
              <a:gd name="T81" fmla="*/ 30 h 547"/>
              <a:gd name="T82" fmla="*/ 101 w 604"/>
              <a:gd name="T83" fmla="*/ 16 h 547"/>
              <a:gd name="T84" fmla="*/ 90 w 604"/>
              <a:gd name="T85" fmla="*/ 7 h 54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604"/>
              <a:gd name="T130" fmla="*/ 0 h 547"/>
              <a:gd name="T131" fmla="*/ 604 w 604"/>
              <a:gd name="T132" fmla="*/ 547 h 54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604" h="547">
                <a:moveTo>
                  <a:pt x="347" y="21"/>
                </a:moveTo>
                <a:lnTo>
                  <a:pt x="328" y="21"/>
                </a:lnTo>
                <a:lnTo>
                  <a:pt x="276" y="7"/>
                </a:lnTo>
                <a:lnTo>
                  <a:pt x="249" y="3"/>
                </a:lnTo>
                <a:lnTo>
                  <a:pt x="226" y="0"/>
                </a:lnTo>
                <a:lnTo>
                  <a:pt x="211" y="0"/>
                </a:lnTo>
                <a:lnTo>
                  <a:pt x="207" y="21"/>
                </a:lnTo>
                <a:lnTo>
                  <a:pt x="205" y="38"/>
                </a:lnTo>
                <a:lnTo>
                  <a:pt x="201" y="53"/>
                </a:lnTo>
                <a:lnTo>
                  <a:pt x="197" y="71"/>
                </a:lnTo>
                <a:lnTo>
                  <a:pt x="201" y="82"/>
                </a:lnTo>
                <a:lnTo>
                  <a:pt x="207" y="90"/>
                </a:lnTo>
                <a:lnTo>
                  <a:pt x="211" y="96"/>
                </a:lnTo>
                <a:lnTo>
                  <a:pt x="215" y="103"/>
                </a:lnTo>
                <a:lnTo>
                  <a:pt x="215" y="111"/>
                </a:lnTo>
                <a:lnTo>
                  <a:pt x="211" y="119"/>
                </a:lnTo>
                <a:lnTo>
                  <a:pt x="201" y="124"/>
                </a:lnTo>
                <a:lnTo>
                  <a:pt x="178" y="140"/>
                </a:lnTo>
                <a:lnTo>
                  <a:pt x="159" y="157"/>
                </a:lnTo>
                <a:lnTo>
                  <a:pt x="144" y="176"/>
                </a:lnTo>
                <a:lnTo>
                  <a:pt x="117" y="218"/>
                </a:lnTo>
                <a:lnTo>
                  <a:pt x="92" y="251"/>
                </a:lnTo>
                <a:lnTo>
                  <a:pt x="61" y="284"/>
                </a:lnTo>
                <a:lnTo>
                  <a:pt x="0" y="341"/>
                </a:lnTo>
                <a:lnTo>
                  <a:pt x="46" y="399"/>
                </a:lnTo>
                <a:lnTo>
                  <a:pt x="65" y="435"/>
                </a:lnTo>
                <a:lnTo>
                  <a:pt x="73" y="453"/>
                </a:lnTo>
                <a:lnTo>
                  <a:pt x="76" y="472"/>
                </a:lnTo>
                <a:lnTo>
                  <a:pt x="73" y="485"/>
                </a:lnTo>
                <a:lnTo>
                  <a:pt x="69" y="501"/>
                </a:lnTo>
                <a:lnTo>
                  <a:pt x="65" y="510"/>
                </a:lnTo>
                <a:lnTo>
                  <a:pt x="61" y="525"/>
                </a:lnTo>
                <a:lnTo>
                  <a:pt x="65" y="533"/>
                </a:lnTo>
                <a:lnTo>
                  <a:pt x="73" y="539"/>
                </a:lnTo>
                <a:lnTo>
                  <a:pt x="80" y="543"/>
                </a:lnTo>
                <a:lnTo>
                  <a:pt x="92" y="547"/>
                </a:lnTo>
                <a:lnTo>
                  <a:pt x="101" y="543"/>
                </a:lnTo>
                <a:lnTo>
                  <a:pt x="113" y="539"/>
                </a:lnTo>
                <a:lnTo>
                  <a:pt x="132" y="525"/>
                </a:lnTo>
                <a:lnTo>
                  <a:pt x="151" y="510"/>
                </a:lnTo>
                <a:lnTo>
                  <a:pt x="163" y="508"/>
                </a:lnTo>
                <a:lnTo>
                  <a:pt x="174" y="508"/>
                </a:lnTo>
                <a:lnTo>
                  <a:pt x="182" y="508"/>
                </a:lnTo>
                <a:lnTo>
                  <a:pt x="186" y="510"/>
                </a:lnTo>
                <a:lnTo>
                  <a:pt x="194" y="522"/>
                </a:lnTo>
                <a:lnTo>
                  <a:pt x="201" y="533"/>
                </a:lnTo>
                <a:lnTo>
                  <a:pt x="205" y="537"/>
                </a:lnTo>
                <a:lnTo>
                  <a:pt x="211" y="537"/>
                </a:lnTo>
                <a:lnTo>
                  <a:pt x="222" y="537"/>
                </a:lnTo>
                <a:lnTo>
                  <a:pt x="234" y="529"/>
                </a:lnTo>
                <a:lnTo>
                  <a:pt x="238" y="522"/>
                </a:lnTo>
                <a:lnTo>
                  <a:pt x="245" y="514"/>
                </a:lnTo>
                <a:lnTo>
                  <a:pt x="257" y="472"/>
                </a:lnTo>
                <a:lnTo>
                  <a:pt x="265" y="456"/>
                </a:lnTo>
                <a:lnTo>
                  <a:pt x="276" y="443"/>
                </a:lnTo>
                <a:lnTo>
                  <a:pt x="307" y="418"/>
                </a:lnTo>
                <a:lnTo>
                  <a:pt x="370" y="366"/>
                </a:lnTo>
                <a:lnTo>
                  <a:pt x="393" y="353"/>
                </a:lnTo>
                <a:lnTo>
                  <a:pt x="424" y="330"/>
                </a:lnTo>
                <a:lnTo>
                  <a:pt x="453" y="316"/>
                </a:lnTo>
                <a:lnTo>
                  <a:pt x="487" y="305"/>
                </a:lnTo>
                <a:lnTo>
                  <a:pt x="518" y="301"/>
                </a:lnTo>
                <a:lnTo>
                  <a:pt x="554" y="291"/>
                </a:lnTo>
                <a:lnTo>
                  <a:pt x="574" y="287"/>
                </a:lnTo>
                <a:lnTo>
                  <a:pt x="589" y="280"/>
                </a:lnTo>
                <a:lnTo>
                  <a:pt x="600" y="272"/>
                </a:lnTo>
                <a:lnTo>
                  <a:pt x="604" y="263"/>
                </a:lnTo>
                <a:lnTo>
                  <a:pt x="600" y="255"/>
                </a:lnTo>
                <a:lnTo>
                  <a:pt x="597" y="247"/>
                </a:lnTo>
                <a:lnTo>
                  <a:pt x="585" y="241"/>
                </a:lnTo>
                <a:lnTo>
                  <a:pt x="570" y="201"/>
                </a:lnTo>
                <a:lnTo>
                  <a:pt x="554" y="161"/>
                </a:lnTo>
                <a:lnTo>
                  <a:pt x="543" y="144"/>
                </a:lnTo>
                <a:lnTo>
                  <a:pt x="529" y="128"/>
                </a:lnTo>
                <a:lnTo>
                  <a:pt x="514" y="119"/>
                </a:lnTo>
                <a:lnTo>
                  <a:pt x="491" y="119"/>
                </a:lnTo>
                <a:lnTo>
                  <a:pt x="476" y="119"/>
                </a:lnTo>
                <a:lnTo>
                  <a:pt x="468" y="124"/>
                </a:lnTo>
                <a:lnTo>
                  <a:pt x="453" y="144"/>
                </a:lnTo>
                <a:lnTo>
                  <a:pt x="445" y="132"/>
                </a:lnTo>
                <a:lnTo>
                  <a:pt x="445" y="124"/>
                </a:lnTo>
                <a:lnTo>
                  <a:pt x="445" y="119"/>
                </a:lnTo>
                <a:lnTo>
                  <a:pt x="424" y="94"/>
                </a:lnTo>
                <a:lnTo>
                  <a:pt x="401" y="61"/>
                </a:lnTo>
                <a:lnTo>
                  <a:pt x="374" y="32"/>
                </a:lnTo>
                <a:lnTo>
                  <a:pt x="359" y="25"/>
                </a:lnTo>
                <a:lnTo>
                  <a:pt x="347" y="21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68" name="Freeform 519"/>
          <p:cNvSpPr>
            <a:spLocks/>
          </p:cNvSpPr>
          <p:nvPr/>
        </p:nvSpPr>
        <p:spPr bwMode="gray">
          <a:xfrm>
            <a:off x="5496923" y="4230898"/>
            <a:ext cx="124170" cy="217879"/>
          </a:xfrm>
          <a:custGeom>
            <a:avLst/>
            <a:gdLst>
              <a:gd name="T0" fmla="*/ 12 w 323"/>
              <a:gd name="T1" fmla="*/ 31 h 560"/>
              <a:gd name="T2" fmla="*/ 3 w 323"/>
              <a:gd name="T3" fmla="*/ 30 h 560"/>
              <a:gd name="T4" fmla="*/ 0 w 323"/>
              <a:gd name="T5" fmla="*/ 27 h 560"/>
              <a:gd name="T6" fmla="*/ 0 w 323"/>
              <a:gd name="T7" fmla="*/ 22 h 560"/>
              <a:gd name="T8" fmla="*/ 3 w 323"/>
              <a:gd name="T9" fmla="*/ 15 h 560"/>
              <a:gd name="T10" fmla="*/ 5 w 323"/>
              <a:gd name="T11" fmla="*/ 8 h 560"/>
              <a:gd name="T12" fmla="*/ 5 w 323"/>
              <a:gd name="T13" fmla="*/ 0 h 560"/>
              <a:gd name="T14" fmla="*/ 21 w 323"/>
              <a:gd name="T15" fmla="*/ 0 h 560"/>
              <a:gd name="T16" fmla="*/ 29 w 323"/>
              <a:gd name="T17" fmla="*/ 2 h 560"/>
              <a:gd name="T18" fmla="*/ 35 w 323"/>
              <a:gd name="T19" fmla="*/ 7 h 560"/>
              <a:gd name="T20" fmla="*/ 39 w 323"/>
              <a:gd name="T21" fmla="*/ 17 h 560"/>
              <a:gd name="T22" fmla="*/ 47 w 323"/>
              <a:gd name="T23" fmla="*/ 40 h 560"/>
              <a:gd name="T24" fmla="*/ 52 w 323"/>
              <a:gd name="T25" fmla="*/ 47 h 560"/>
              <a:gd name="T26" fmla="*/ 57 w 323"/>
              <a:gd name="T27" fmla="*/ 59 h 560"/>
              <a:gd name="T28" fmla="*/ 60 w 323"/>
              <a:gd name="T29" fmla="*/ 71 h 560"/>
              <a:gd name="T30" fmla="*/ 66 w 323"/>
              <a:gd name="T31" fmla="*/ 84 h 560"/>
              <a:gd name="T32" fmla="*/ 75 w 323"/>
              <a:gd name="T33" fmla="*/ 99 h 560"/>
              <a:gd name="T34" fmla="*/ 80 w 323"/>
              <a:gd name="T35" fmla="*/ 103 h 560"/>
              <a:gd name="T36" fmla="*/ 79 w 323"/>
              <a:gd name="T37" fmla="*/ 117 h 560"/>
              <a:gd name="T38" fmla="*/ 75 w 323"/>
              <a:gd name="T39" fmla="*/ 130 h 560"/>
              <a:gd name="T40" fmla="*/ 73 w 323"/>
              <a:gd name="T41" fmla="*/ 138 h 560"/>
              <a:gd name="T42" fmla="*/ 66 w 323"/>
              <a:gd name="T43" fmla="*/ 140 h 560"/>
              <a:gd name="T44" fmla="*/ 64 w 323"/>
              <a:gd name="T45" fmla="*/ 139 h 560"/>
              <a:gd name="T46" fmla="*/ 63 w 323"/>
              <a:gd name="T47" fmla="*/ 124 h 560"/>
              <a:gd name="T48" fmla="*/ 64 w 323"/>
              <a:gd name="T49" fmla="*/ 91 h 560"/>
              <a:gd name="T50" fmla="*/ 63 w 323"/>
              <a:gd name="T51" fmla="*/ 87 h 560"/>
              <a:gd name="T52" fmla="*/ 60 w 323"/>
              <a:gd name="T53" fmla="*/ 88 h 560"/>
              <a:gd name="T54" fmla="*/ 56 w 323"/>
              <a:gd name="T55" fmla="*/ 93 h 560"/>
              <a:gd name="T56" fmla="*/ 53 w 323"/>
              <a:gd name="T57" fmla="*/ 93 h 560"/>
              <a:gd name="T58" fmla="*/ 52 w 323"/>
              <a:gd name="T59" fmla="*/ 82 h 560"/>
              <a:gd name="T60" fmla="*/ 51 w 323"/>
              <a:gd name="T61" fmla="*/ 74 h 560"/>
              <a:gd name="T62" fmla="*/ 43 w 323"/>
              <a:gd name="T63" fmla="*/ 80 h 560"/>
              <a:gd name="T64" fmla="*/ 38 w 323"/>
              <a:gd name="T65" fmla="*/ 80 h 560"/>
              <a:gd name="T66" fmla="*/ 34 w 323"/>
              <a:gd name="T67" fmla="*/ 77 h 560"/>
              <a:gd name="T68" fmla="*/ 32 w 323"/>
              <a:gd name="T69" fmla="*/ 71 h 560"/>
              <a:gd name="T70" fmla="*/ 23 w 323"/>
              <a:gd name="T71" fmla="*/ 55 h 560"/>
              <a:gd name="T72" fmla="*/ 9 w 323"/>
              <a:gd name="T73" fmla="*/ 43 h 560"/>
              <a:gd name="T74" fmla="*/ 11 w 323"/>
              <a:gd name="T75" fmla="*/ 37 h 560"/>
              <a:gd name="T76" fmla="*/ 18 w 323"/>
              <a:gd name="T77" fmla="*/ 35 h 56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323"/>
              <a:gd name="T118" fmla="*/ 0 h 560"/>
              <a:gd name="T119" fmla="*/ 323 w 323"/>
              <a:gd name="T120" fmla="*/ 560 h 560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323" h="560">
                <a:moveTo>
                  <a:pt x="81" y="124"/>
                </a:moveTo>
                <a:lnTo>
                  <a:pt x="50" y="124"/>
                </a:lnTo>
                <a:lnTo>
                  <a:pt x="27" y="121"/>
                </a:lnTo>
                <a:lnTo>
                  <a:pt x="15" y="121"/>
                </a:lnTo>
                <a:lnTo>
                  <a:pt x="8" y="119"/>
                </a:lnTo>
                <a:lnTo>
                  <a:pt x="0" y="111"/>
                </a:lnTo>
                <a:lnTo>
                  <a:pt x="0" y="100"/>
                </a:lnTo>
                <a:lnTo>
                  <a:pt x="0" y="90"/>
                </a:lnTo>
                <a:lnTo>
                  <a:pt x="4" y="82"/>
                </a:lnTo>
                <a:lnTo>
                  <a:pt x="15" y="61"/>
                </a:lnTo>
                <a:lnTo>
                  <a:pt x="23" y="42"/>
                </a:lnTo>
                <a:lnTo>
                  <a:pt x="23" y="32"/>
                </a:lnTo>
                <a:lnTo>
                  <a:pt x="23" y="25"/>
                </a:lnTo>
                <a:lnTo>
                  <a:pt x="23" y="0"/>
                </a:lnTo>
                <a:lnTo>
                  <a:pt x="61" y="0"/>
                </a:lnTo>
                <a:lnTo>
                  <a:pt x="85" y="0"/>
                </a:lnTo>
                <a:lnTo>
                  <a:pt x="104" y="4"/>
                </a:lnTo>
                <a:lnTo>
                  <a:pt x="119" y="9"/>
                </a:lnTo>
                <a:lnTo>
                  <a:pt x="129" y="17"/>
                </a:lnTo>
                <a:lnTo>
                  <a:pt x="140" y="28"/>
                </a:lnTo>
                <a:lnTo>
                  <a:pt x="148" y="38"/>
                </a:lnTo>
                <a:lnTo>
                  <a:pt x="159" y="67"/>
                </a:lnTo>
                <a:lnTo>
                  <a:pt x="179" y="128"/>
                </a:lnTo>
                <a:lnTo>
                  <a:pt x="190" y="161"/>
                </a:lnTo>
                <a:lnTo>
                  <a:pt x="198" y="176"/>
                </a:lnTo>
                <a:lnTo>
                  <a:pt x="209" y="190"/>
                </a:lnTo>
                <a:lnTo>
                  <a:pt x="221" y="211"/>
                </a:lnTo>
                <a:lnTo>
                  <a:pt x="228" y="238"/>
                </a:lnTo>
                <a:lnTo>
                  <a:pt x="232" y="259"/>
                </a:lnTo>
                <a:lnTo>
                  <a:pt x="240" y="284"/>
                </a:lnTo>
                <a:lnTo>
                  <a:pt x="252" y="309"/>
                </a:lnTo>
                <a:lnTo>
                  <a:pt x="267" y="338"/>
                </a:lnTo>
                <a:lnTo>
                  <a:pt x="296" y="387"/>
                </a:lnTo>
                <a:lnTo>
                  <a:pt x="303" y="399"/>
                </a:lnTo>
                <a:lnTo>
                  <a:pt x="315" y="407"/>
                </a:lnTo>
                <a:lnTo>
                  <a:pt x="323" y="412"/>
                </a:lnTo>
                <a:lnTo>
                  <a:pt x="323" y="424"/>
                </a:lnTo>
                <a:lnTo>
                  <a:pt x="319" y="468"/>
                </a:lnTo>
                <a:lnTo>
                  <a:pt x="315" y="518"/>
                </a:lnTo>
                <a:lnTo>
                  <a:pt x="300" y="518"/>
                </a:lnTo>
                <a:lnTo>
                  <a:pt x="296" y="535"/>
                </a:lnTo>
                <a:lnTo>
                  <a:pt x="292" y="551"/>
                </a:lnTo>
                <a:lnTo>
                  <a:pt x="280" y="556"/>
                </a:lnTo>
                <a:lnTo>
                  <a:pt x="267" y="560"/>
                </a:lnTo>
                <a:lnTo>
                  <a:pt x="263" y="560"/>
                </a:lnTo>
                <a:lnTo>
                  <a:pt x="259" y="554"/>
                </a:lnTo>
                <a:lnTo>
                  <a:pt x="252" y="535"/>
                </a:lnTo>
                <a:lnTo>
                  <a:pt x="252" y="497"/>
                </a:lnTo>
                <a:lnTo>
                  <a:pt x="252" y="395"/>
                </a:lnTo>
                <a:lnTo>
                  <a:pt x="259" y="366"/>
                </a:lnTo>
                <a:lnTo>
                  <a:pt x="259" y="353"/>
                </a:lnTo>
                <a:lnTo>
                  <a:pt x="255" y="349"/>
                </a:lnTo>
                <a:lnTo>
                  <a:pt x="252" y="349"/>
                </a:lnTo>
                <a:lnTo>
                  <a:pt x="240" y="353"/>
                </a:lnTo>
                <a:lnTo>
                  <a:pt x="232" y="359"/>
                </a:lnTo>
                <a:lnTo>
                  <a:pt x="225" y="374"/>
                </a:lnTo>
                <a:lnTo>
                  <a:pt x="221" y="382"/>
                </a:lnTo>
                <a:lnTo>
                  <a:pt x="213" y="374"/>
                </a:lnTo>
                <a:lnTo>
                  <a:pt x="209" y="362"/>
                </a:lnTo>
                <a:lnTo>
                  <a:pt x="209" y="330"/>
                </a:lnTo>
                <a:lnTo>
                  <a:pt x="209" y="316"/>
                </a:lnTo>
                <a:lnTo>
                  <a:pt x="205" y="297"/>
                </a:lnTo>
                <a:lnTo>
                  <a:pt x="182" y="313"/>
                </a:lnTo>
                <a:lnTo>
                  <a:pt x="175" y="320"/>
                </a:lnTo>
                <a:lnTo>
                  <a:pt x="159" y="320"/>
                </a:lnTo>
                <a:lnTo>
                  <a:pt x="152" y="320"/>
                </a:lnTo>
                <a:lnTo>
                  <a:pt x="144" y="316"/>
                </a:lnTo>
                <a:lnTo>
                  <a:pt x="136" y="309"/>
                </a:lnTo>
                <a:lnTo>
                  <a:pt x="133" y="295"/>
                </a:lnTo>
                <a:lnTo>
                  <a:pt x="129" y="284"/>
                </a:lnTo>
                <a:lnTo>
                  <a:pt x="115" y="255"/>
                </a:lnTo>
                <a:lnTo>
                  <a:pt x="92" y="222"/>
                </a:lnTo>
                <a:lnTo>
                  <a:pt x="65" y="194"/>
                </a:lnTo>
                <a:lnTo>
                  <a:pt x="38" y="172"/>
                </a:lnTo>
                <a:lnTo>
                  <a:pt x="38" y="149"/>
                </a:lnTo>
                <a:lnTo>
                  <a:pt x="46" y="149"/>
                </a:lnTo>
                <a:lnTo>
                  <a:pt x="61" y="147"/>
                </a:lnTo>
                <a:lnTo>
                  <a:pt x="73" y="140"/>
                </a:lnTo>
                <a:lnTo>
                  <a:pt x="81" y="124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69" name="Freeform 520"/>
          <p:cNvSpPr>
            <a:spLocks/>
          </p:cNvSpPr>
          <p:nvPr/>
        </p:nvSpPr>
        <p:spPr bwMode="gray">
          <a:xfrm>
            <a:off x="5424426" y="4278362"/>
            <a:ext cx="133425" cy="187532"/>
          </a:xfrm>
          <a:custGeom>
            <a:avLst/>
            <a:gdLst>
              <a:gd name="T0" fmla="*/ 68 w 345"/>
              <a:gd name="T1" fmla="*/ 101 h 481"/>
              <a:gd name="T2" fmla="*/ 70 w 345"/>
              <a:gd name="T3" fmla="*/ 110 h 481"/>
              <a:gd name="T4" fmla="*/ 70 w 345"/>
              <a:gd name="T5" fmla="*/ 117 h 481"/>
              <a:gd name="T6" fmla="*/ 73 w 345"/>
              <a:gd name="T7" fmla="*/ 120 h 481"/>
              <a:gd name="T8" fmla="*/ 79 w 345"/>
              <a:gd name="T9" fmla="*/ 120 h 481"/>
              <a:gd name="T10" fmla="*/ 86 w 345"/>
              <a:gd name="T11" fmla="*/ 114 h 481"/>
              <a:gd name="T12" fmla="*/ 86 w 345"/>
              <a:gd name="T13" fmla="*/ 108 h 481"/>
              <a:gd name="T14" fmla="*/ 76 w 345"/>
              <a:gd name="T15" fmla="*/ 98 h 481"/>
              <a:gd name="T16" fmla="*/ 67 w 345"/>
              <a:gd name="T17" fmla="*/ 89 h 481"/>
              <a:gd name="T18" fmla="*/ 66 w 345"/>
              <a:gd name="T19" fmla="*/ 83 h 481"/>
              <a:gd name="T20" fmla="*/ 68 w 345"/>
              <a:gd name="T21" fmla="*/ 79 h 481"/>
              <a:gd name="T22" fmla="*/ 59 w 345"/>
              <a:gd name="T23" fmla="*/ 58 h 481"/>
              <a:gd name="T24" fmla="*/ 54 w 345"/>
              <a:gd name="T25" fmla="*/ 56 h 481"/>
              <a:gd name="T26" fmla="*/ 43 w 345"/>
              <a:gd name="T27" fmla="*/ 55 h 481"/>
              <a:gd name="T28" fmla="*/ 38 w 345"/>
              <a:gd name="T29" fmla="*/ 53 h 481"/>
              <a:gd name="T30" fmla="*/ 38 w 345"/>
              <a:gd name="T31" fmla="*/ 49 h 481"/>
              <a:gd name="T32" fmla="*/ 40 w 345"/>
              <a:gd name="T33" fmla="*/ 43 h 481"/>
              <a:gd name="T34" fmla="*/ 41 w 345"/>
              <a:gd name="T35" fmla="*/ 38 h 481"/>
              <a:gd name="T36" fmla="*/ 35 w 345"/>
              <a:gd name="T37" fmla="*/ 34 h 481"/>
              <a:gd name="T38" fmla="*/ 31 w 345"/>
              <a:gd name="T39" fmla="*/ 32 h 481"/>
              <a:gd name="T40" fmla="*/ 30 w 345"/>
              <a:gd name="T41" fmla="*/ 9 h 481"/>
              <a:gd name="T42" fmla="*/ 28 w 345"/>
              <a:gd name="T43" fmla="*/ 5 h 481"/>
              <a:gd name="T44" fmla="*/ 23 w 345"/>
              <a:gd name="T45" fmla="*/ 2 h 481"/>
              <a:gd name="T46" fmla="*/ 11 w 345"/>
              <a:gd name="T47" fmla="*/ 0 h 481"/>
              <a:gd name="T48" fmla="*/ 1 w 345"/>
              <a:gd name="T49" fmla="*/ 3 h 481"/>
              <a:gd name="T50" fmla="*/ 6 w 345"/>
              <a:gd name="T51" fmla="*/ 12 h 481"/>
              <a:gd name="T52" fmla="*/ 9 w 345"/>
              <a:gd name="T53" fmla="*/ 13 h 481"/>
              <a:gd name="T54" fmla="*/ 12 w 345"/>
              <a:gd name="T55" fmla="*/ 12 h 481"/>
              <a:gd name="T56" fmla="*/ 15 w 345"/>
              <a:gd name="T57" fmla="*/ 7 h 481"/>
              <a:gd name="T58" fmla="*/ 18 w 345"/>
              <a:gd name="T59" fmla="*/ 6 h 481"/>
              <a:gd name="T60" fmla="*/ 21 w 345"/>
              <a:gd name="T61" fmla="*/ 27 h 481"/>
              <a:gd name="T62" fmla="*/ 21 w 345"/>
              <a:gd name="T63" fmla="*/ 30 h 481"/>
              <a:gd name="T64" fmla="*/ 28 w 345"/>
              <a:gd name="T65" fmla="*/ 36 h 481"/>
              <a:gd name="T66" fmla="*/ 29 w 345"/>
              <a:gd name="T67" fmla="*/ 41 h 481"/>
              <a:gd name="T68" fmla="*/ 27 w 345"/>
              <a:gd name="T69" fmla="*/ 45 h 481"/>
              <a:gd name="T70" fmla="*/ 25 w 345"/>
              <a:gd name="T71" fmla="*/ 51 h 481"/>
              <a:gd name="T72" fmla="*/ 28 w 345"/>
              <a:gd name="T73" fmla="*/ 58 h 481"/>
              <a:gd name="T74" fmla="*/ 34 w 345"/>
              <a:gd name="T75" fmla="*/ 62 h 481"/>
              <a:gd name="T76" fmla="*/ 53 w 345"/>
              <a:gd name="T77" fmla="*/ 63 h 481"/>
              <a:gd name="T78" fmla="*/ 55 w 345"/>
              <a:gd name="T79" fmla="*/ 73 h 481"/>
              <a:gd name="T80" fmla="*/ 61 w 345"/>
              <a:gd name="T81" fmla="*/ 89 h 481"/>
              <a:gd name="T82" fmla="*/ 62 w 345"/>
              <a:gd name="T83" fmla="*/ 96 h 481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345"/>
              <a:gd name="T127" fmla="*/ 0 h 481"/>
              <a:gd name="T128" fmla="*/ 345 w 345"/>
              <a:gd name="T129" fmla="*/ 481 h 481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345" h="481">
                <a:moveTo>
                  <a:pt x="246" y="370"/>
                </a:moveTo>
                <a:lnTo>
                  <a:pt x="269" y="403"/>
                </a:lnTo>
                <a:lnTo>
                  <a:pt x="276" y="420"/>
                </a:lnTo>
                <a:lnTo>
                  <a:pt x="280" y="439"/>
                </a:lnTo>
                <a:lnTo>
                  <a:pt x="280" y="464"/>
                </a:lnTo>
                <a:lnTo>
                  <a:pt x="280" y="468"/>
                </a:lnTo>
                <a:lnTo>
                  <a:pt x="284" y="476"/>
                </a:lnTo>
                <a:lnTo>
                  <a:pt x="292" y="477"/>
                </a:lnTo>
                <a:lnTo>
                  <a:pt x="303" y="481"/>
                </a:lnTo>
                <a:lnTo>
                  <a:pt x="315" y="477"/>
                </a:lnTo>
                <a:lnTo>
                  <a:pt x="330" y="468"/>
                </a:lnTo>
                <a:lnTo>
                  <a:pt x="342" y="456"/>
                </a:lnTo>
                <a:lnTo>
                  <a:pt x="345" y="447"/>
                </a:lnTo>
                <a:lnTo>
                  <a:pt x="342" y="431"/>
                </a:lnTo>
                <a:lnTo>
                  <a:pt x="334" y="418"/>
                </a:lnTo>
                <a:lnTo>
                  <a:pt x="303" y="391"/>
                </a:lnTo>
                <a:lnTo>
                  <a:pt x="273" y="366"/>
                </a:lnTo>
                <a:lnTo>
                  <a:pt x="265" y="353"/>
                </a:lnTo>
                <a:lnTo>
                  <a:pt x="261" y="337"/>
                </a:lnTo>
                <a:lnTo>
                  <a:pt x="261" y="332"/>
                </a:lnTo>
                <a:lnTo>
                  <a:pt x="265" y="324"/>
                </a:lnTo>
                <a:lnTo>
                  <a:pt x="269" y="316"/>
                </a:lnTo>
                <a:lnTo>
                  <a:pt x="273" y="309"/>
                </a:lnTo>
                <a:lnTo>
                  <a:pt x="236" y="230"/>
                </a:lnTo>
                <a:lnTo>
                  <a:pt x="225" y="226"/>
                </a:lnTo>
                <a:lnTo>
                  <a:pt x="213" y="222"/>
                </a:lnTo>
                <a:lnTo>
                  <a:pt x="186" y="220"/>
                </a:lnTo>
                <a:lnTo>
                  <a:pt x="171" y="220"/>
                </a:lnTo>
                <a:lnTo>
                  <a:pt x="159" y="216"/>
                </a:lnTo>
                <a:lnTo>
                  <a:pt x="152" y="209"/>
                </a:lnTo>
                <a:lnTo>
                  <a:pt x="152" y="201"/>
                </a:lnTo>
                <a:lnTo>
                  <a:pt x="152" y="193"/>
                </a:lnTo>
                <a:lnTo>
                  <a:pt x="155" y="184"/>
                </a:lnTo>
                <a:lnTo>
                  <a:pt x="159" y="172"/>
                </a:lnTo>
                <a:lnTo>
                  <a:pt x="163" y="163"/>
                </a:lnTo>
                <a:lnTo>
                  <a:pt x="163" y="151"/>
                </a:lnTo>
                <a:lnTo>
                  <a:pt x="155" y="144"/>
                </a:lnTo>
                <a:lnTo>
                  <a:pt x="140" y="136"/>
                </a:lnTo>
                <a:lnTo>
                  <a:pt x="125" y="130"/>
                </a:lnTo>
                <a:lnTo>
                  <a:pt x="121" y="126"/>
                </a:lnTo>
                <a:lnTo>
                  <a:pt x="119" y="122"/>
                </a:lnTo>
                <a:lnTo>
                  <a:pt x="119" y="36"/>
                </a:lnTo>
                <a:lnTo>
                  <a:pt x="119" y="24"/>
                </a:lnTo>
                <a:lnTo>
                  <a:pt x="111" y="19"/>
                </a:lnTo>
                <a:lnTo>
                  <a:pt x="104" y="11"/>
                </a:lnTo>
                <a:lnTo>
                  <a:pt x="92" y="7"/>
                </a:lnTo>
                <a:lnTo>
                  <a:pt x="69" y="0"/>
                </a:lnTo>
                <a:lnTo>
                  <a:pt x="42" y="0"/>
                </a:lnTo>
                <a:lnTo>
                  <a:pt x="0" y="0"/>
                </a:lnTo>
                <a:lnTo>
                  <a:pt x="4" y="11"/>
                </a:lnTo>
                <a:lnTo>
                  <a:pt x="11" y="28"/>
                </a:lnTo>
                <a:lnTo>
                  <a:pt x="23" y="48"/>
                </a:lnTo>
                <a:lnTo>
                  <a:pt x="31" y="49"/>
                </a:lnTo>
                <a:lnTo>
                  <a:pt x="35" y="49"/>
                </a:lnTo>
                <a:lnTo>
                  <a:pt x="42" y="49"/>
                </a:lnTo>
                <a:lnTo>
                  <a:pt x="46" y="48"/>
                </a:lnTo>
                <a:lnTo>
                  <a:pt x="54" y="40"/>
                </a:lnTo>
                <a:lnTo>
                  <a:pt x="58" y="28"/>
                </a:lnTo>
                <a:lnTo>
                  <a:pt x="61" y="24"/>
                </a:lnTo>
                <a:lnTo>
                  <a:pt x="69" y="24"/>
                </a:lnTo>
                <a:lnTo>
                  <a:pt x="77" y="61"/>
                </a:lnTo>
                <a:lnTo>
                  <a:pt x="81" y="105"/>
                </a:lnTo>
                <a:lnTo>
                  <a:pt x="81" y="111"/>
                </a:lnTo>
                <a:lnTo>
                  <a:pt x="84" y="119"/>
                </a:lnTo>
                <a:lnTo>
                  <a:pt x="100" y="134"/>
                </a:lnTo>
                <a:lnTo>
                  <a:pt x="111" y="144"/>
                </a:lnTo>
                <a:lnTo>
                  <a:pt x="115" y="151"/>
                </a:lnTo>
                <a:lnTo>
                  <a:pt x="115" y="163"/>
                </a:lnTo>
                <a:lnTo>
                  <a:pt x="111" y="172"/>
                </a:lnTo>
                <a:lnTo>
                  <a:pt x="107" y="180"/>
                </a:lnTo>
                <a:lnTo>
                  <a:pt x="104" y="191"/>
                </a:lnTo>
                <a:lnTo>
                  <a:pt x="100" y="201"/>
                </a:lnTo>
                <a:lnTo>
                  <a:pt x="104" y="220"/>
                </a:lnTo>
                <a:lnTo>
                  <a:pt x="111" y="230"/>
                </a:lnTo>
                <a:lnTo>
                  <a:pt x="121" y="241"/>
                </a:lnTo>
                <a:lnTo>
                  <a:pt x="136" y="245"/>
                </a:lnTo>
                <a:lnTo>
                  <a:pt x="175" y="251"/>
                </a:lnTo>
                <a:lnTo>
                  <a:pt x="209" y="251"/>
                </a:lnTo>
                <a:lnTo>
                  <a:pt x="209" y="274"/>
                </a:lnTo>
                <a:lnTo>
                  <a:pt x="217" y="291"/>
                </a:lnTo>
                <a:lnTo>
                  <a:pt x="232" y="324"/>
                </a:lnTo>
                <a:lnTo>
                  <a:pt x="244" y="353"/>
                </a:lnTo>
                <a:lnTo>
                  <a:pt x="246" y="366"/>
                </a:lnTo>
                <a:lnTo>
                  <a:pt x="246" y="382"/>
                </a:lnTo>
                <a:lnTo>
                  <a:pt x="246" y="370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70" name="Freeform 521"/>
          <p:cNvSpPr>
            <a:spLocks/>
          </p:cNvSpPr>
          <p:nvPr/>
        </p:nvSpPr>
        <p:spPr bwMode="gray">
          <a:xfrm>
            <a:off x="5079680" y="3841826"/>
            <a:ext cx="159648" cy="57582"/>
          </a:xfrm>
          <a:custGeom>
            <a:avLst/>
            <a:gdLst>
              <a:gd name="T0" fmla="*/ 18 w 415"/>
              <a:gd name="T1" fmla="*/ 37 h 147"/>
              <a:gd name="T2" fmla="*/ 10 w 415"/>
              <a:gd name="T3" fmla="*/ 37 h 147"/>
              <a:gd name="T4" fmla="*/ 7 w 415"/>
              <a:gd name="T5" fmla="*/ 37 h 147"/>
              <a:gd name="T6" fmla="*/ 4 w 415"/>
              <a:gd name="T7" fmla="*/ 36 h 147"/>
              <a:gd name="T8" fmla="*/ 1 w 415"/>
              <a:gd name="T9" fmla="*/ 34 h 147"/>
              <a:gd name="T10" fmla="*/ 1 w 415"/>
              <a:gd name="T11" fmla="*/ 33 h 147"/>
              <a:gd name="T12" fmla="*/ 0 w 415"/>
              <a:gd name="T13" fmla="*/ 33 h 147"/>
              <a:gd name="T14" fmla="*/ 1 w 415"/>
              <a:gd name="T15" fmla="*/ 31 h 147"/>
              <a:gd name="T16" fmla="*/ 3 w 415"/>
              <a:gd name="T17" fmla="*/ 28 h 147"/>
              <a:gd name="T18" fmla="*/ 9 w 415"/>
              <a:gd name="T19" fmla="*/ 24 h 147"/>
              <a:gd name="T20" fmla="*/ 22 w 415"/>
              <a:gd name="T21" fmla="*/ 17 h 147"/>
              <a:gd name="T22" fmla="*/ 27 w 415"/>
              <a:gd name="T23" fmla="*/ 12 h 147"/>
              <a:gd name="T24" fmla="*/ 33 w 415"/>
              <a:gd name="T25" fmla="*/ 7 h 147"/>
              <a:gd name="T26" fmla="*/ 39 w 415"/>
              <a:gd name="T27" fmla="*/ 2 h 147"/>
              <a:gd name="T28" fmla="*/ 41 w 415"/>
              <a:gd name="T29" fmla="*/ 1 h 147"/>
              <a:gd name="T30" fmla="*/ 45 w 415"/>
              <a:gd name="T31" fmla="*/ 0 h 147"/>
              <a:gd name="T32" fmla="*/ 50 w 415"/>
              <a:gd name="T33" fmla="*/ 1 h 147"/>
              <a:gd name="T34" fmla="*/ 53 w 415"/>
              <a:gd name="T35" fmla="*/ 4 h 147"/>
              <a:gd name="T36" fmla="*/ 54 w 415"/>
              <a:gd name="T37" fmla="*/ 7 h 147"/>
              <a:gd name="T38" fmla="*/ 55 w 415"/>
              <a:gd name="T39" fmla="*/ 11 h 147"/>
              <a:gd name="T40" fmla="*/ 60 w 415"/>
              <a:gd name="T41" fmla="*/ 11 h 147"/>
              <a:gd name="T42" fmla="*/ 63 w 415"/>
              <a:gd name="T43" fmla="*/ 9 h 147"/>
              <a:gd name="T44" fmla="*/ 66 w 415"/>
              <a:gd name="T45" fmla="*/ 8 h 147"/>
              <a:gd name="T46" fmla="*/ 72 w 415"/>
              <a:gd name="T47" fmla="*/ 8 h 147"/>
              <a:gd name="T48" fmla="*/ 76 w 415"/>
              <a:gd name="T49" fmla="*/ 9 h 147"/>
              <a:gd name="T50" fmla="*/ 85 w 415"/>
              <a:gd name="T51" fmla="*/ 12 h 147"/>
              <a:gd name="T52" fmla="*/ 94 w 415"/>
              <a:gd name="T53" fmla="*/ 16 h 147"/>
              <a:gd name="T54" fmla="*/ 103 w 415"/>
              <a:gd name="T55" fmla="*/ 18 h 147"/>
              <a:gd name="T56" fmla="*/ 82 w 415"/>
              <a:gd name="T57" fmla="*/ 18 h 147"/>
              <a:gd name="T58" fmla="*/ 77 w 415"/>
              <a:gd name="T59" fmla="*/ 19 h 147"/>
              <a:gd name="T60" fmla="*/ 72 w 415"/>
              <a:gd name="T61" fmla="*/ 21 h 147"/>
              <a:gd name="T62" fmla="*/ 67 w 415"/>
              <a:gd name="T63" fmla="*/ 23 h 147"/>
              <a:gd name="T64" fmla="*/ 60 w 415"/>
              <a:gd name="T65" fmla="*/ 23 h 147"/>
              <a:gd name="T66" fmla="*/ 55 w 415"/>
              <a:gd name="T67" fmla="*/ 23 h 147"/>
              <a:gd name="T68" fmla="*/ 51 w 415"/>
              <a:gd name="T69" fmla="*/ 22 h 147"/>
              <a:gd name="T70" fmla="*/ 42 w 415"/>
              <a:gd name="T71" fmla="*/ 21 h 147"/>
              <a:gd name="T72" fmla="*/ 36 w 415"/>
              <a:gd name="T73" fmla="*/ 22 h 147"/>
              <a:gd name="T74" fmla="*/ 28 w 415"/>
              <a:gd name="T75" fmla="*/ 24 h 147"/>
              <a:gd name="T76" fmla="*/ 21 w 415"/>
              <a:gd name="T77" fmla="*/ 26 h 147"/>
              <a:gd name="T78" fmla="*/ 16 w 415"/>
              <a:gd name="T79" fmla="*/ 30 h 147"/>
              <a:gd name="T80" fmla="*/ 18 w 415"/>
              <a:gd name="T81" fmla="*/ 33 h 147"/>
              <a:gd name="T82" fmla="*/ 18 w 415"/>
              <a:gd name="T83" fmla="*/ 37 h 147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415"/>
              <a:gd name="T127" fmla="*/ 0 h 147"/>
              <a:gd name="T128" fmla="*/ 415 w 415"/>
              <a:gd name="T129" fmla="*/ 147 h 147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415" h="147">
                <a:moveTo>
                  <a:pt x="75" y="147"/>
                </a:moveTo>
                <a:lnTo>
                  <a:pt x="41" y="147"/>
                </a:lnTo>
                <a:lnTo>
                  <a:pt x="31" y="147"/>
                </a:lnTo>
                <a:lnTo>
                  <a:pt x="16" y="144"/>
                </a:lnTo>
                <a:lnTo>
                  <a:pt x="4" y="136"/>
                </a:lnTo>
                <a:lnTo>
                  <a:pt x="4" y="132"/>
                </a:lnTo>
                <a:lnTo>
                  <a:pt x="0" y="130"/>
                </a:lnTo>
                <a:lnTo>
                  <a:pt x="4" y="123"/>
                </a:lnTo>
                <a:lnTo>
                  <a:pt x="12" y="111"/>
                </a:lnTo>
                <a:lnTo>
                  <a:pt x="39" y="94"/>
                </a:lnTo>
                <a:lnTo>
                  <a:pt x="91" y="65"/>
                </a:lnTo>
                <a:lnTo>
                  <a:pt x="110" y="46"/>
                </a:lnTo>
                <a:lnTo>
                  <a:pt x="133" y="25"/>
                </a:lnTo>
                <a:lnTo>
                  <a:pt x="156" y="7"/>
                </a:lnTo>
                <a:lnTo>
                  <a:pt x="166" y="4"/>
                </a:lnTo>
                <a:lnTo>
                  <a:pt x="181" y="0"/>
                </a:lnTo>
                <a:lnTo>
                  <a:pt x="200" y="4"/>
                </a:lnTo>
                <a:lnTo>
                  <a:pt x="212" y="13"/>
                </a:lnTo>
                <a:lnTo>
                  <a:pt x="219" y="25"/>
                </a:lnTo>
                <a:lnTo>
                  <a:pt x="223" y="42"/>
                </a:lnTo>
                <a:lnTo>
                  <a:pt x="242" y="42"/>
                </a:lnTo>
                <a:lnTo>
                  <a:pt x="254" y="36"/>
                </a:lnTo>
                <a:lnTo>
                  <a:pt x="265" y="32"/>
                </a:lnTo>
                <a:lnTo>
                  <a:pt x="288" y="32"/>
                </a:lnTo>
                <a:lnTo>
                  <a:pt x="306" y="36"/>
                </a:lnTo>
                <a:lnTo>
                  <a:pt x="340" y="46"/>
                </a:lnTo>
                <a:lnTo>
                  <a:pt x="379" y="61"/>
                </a:lnTo>
                <a:lnTo>
                  <a:pt x="415" y="71"/>
                </a:lnTo>
                <a:lnTo>
                  <a:pt x="329" y="71"/>
                </a:lnTo>
                <a:lnTo>
                  <a:pt x="310" y="75"/>
                </a:lnTo>
                <a:lnTo>
                  <a:pt x="290" y="82"/>
                </a:lnTo>
                <a:lnTo>
                  <a:pt x="269" y="90"/>
                </a:lnTo>
                <a:lnTo>
                  <a:pt x="242" y="90"/>
                </a:lnTo>
                <a:lnTo>
                  <a:pt x="223" y="90"/>
                </a:lnTo>
                <a:lnTo>
                  <a:pt x="204" y="86"/>
                </a:lnTo>
                <a:lnTo>
                  <a:pt x="169" y="82"/>
                </a:lnTo>
                <a:lnTo>
                  <a:pt x="144" y="86"/>
                </a:lnTo>
                <a:lnTo>
                  <a:pt x="114" y="94"/>
                </a:lnTo>
                <a:lnTo>
                  <a:pt x="87" y="103"/>
                </a:lnTo>
                <a:lnTo>
                  <a:pt x="64" y="119"/>
                </a:lnTo>
                <a:lnTo>
                  <a:pt x="72" y="132"/>
                </a:lnTo>
                <a:lnTo>
                  <a:pt x="75" y="147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71" name="Freeform 522"/>
          <p:cNvSpPr>
            <a:spLocks/>
          </p:cNvSpPr>
          <p:nvPr/>
        </p:nvSpPr>
        <p:spPr bwMode="gray">
          <a:xfrm>
            <a:off x="4910778" y="3589709"/>
            <a:ext cx="274563" cy="143178"/>
          </a:xfrm>
          <a:custGeom>
            <a:avLst/>
            <a:gdLst>
              <a:gd name="T0" fmla="*/ 12 w 712"/>
              <a:gd name="T1" fmla="*/ 68 h 366"/>
              <a:gd name="T2" fmla="*/ 22 w 712"/>
              <a:gd name="T3" fmla="*/ 69 h 366"/>
              <a:gd name="T4" fmla="*/ 29 w 712"/>
              <a:gd name="T5" fmla="*/ 73 h 366"/>
              <a:gd name="T6" fmla="*/ 30 w 712"/>
              <a:gd name="T7" fmla="*/ 70 h 366"/>
              <a:gd name="T8" fmla="*/ 29 w 712"/>
              <a:gd name="T9" fmla="*/ 66 h 366"/>
              <a:gd name="T10" fmla="*/ 35 w 712"/>
              <a:gd name="T11" fmla="*/ 64 h 366"/>
              <a:gd name="T12" fmla="*/ 39 w 712"/>
              <a:gd name="T13" fmla="*/ 60 h 366"/>
              <a:gd name="T14" fmla="*/ 41 w 712"/>
              <a:gd name="T15" fmla="*/ 55 h 366"/>
              <a:gd name="T16" fmla="*/ 46 w 712"/>
              <a:gd name="T17" fmla="*/ 52 h 366"/>
              <a:gd name="T18" fmla="*/ 56 w 712"/>
              <a:gd name="T19" fmla="*/ 52 h 366"/>
              <a:gd name="T20" fmla="*/ 61 w 712"/>
              <a:gd name="T21" fmla="*/ 51 h 366"/>
              <a:gd name="T22" fmla="*/ 61 w 712"/>
              <a:gd name="T23" fmla="*/ 48 h 366"/>
              <a:gd name="T24" fmla="*/ 60 w 712"/>
              <a:gd name="T25" fmla="*/ 44 h 366"/>
              <a:gd name="T26" fmla="*/ 57 w 712"/>
              <a:gd name="T27" fmla="*/ 40 h 366"/>
              <a:gd name="T28" fmla="*/ 61 w 712"/>
              <a:gd name="T29" fmla="*/ 26 h 366"/>
              <a:gd name="T30" fmla="*/ 50 w 712"/>
              <a:gd name="T31" fmla="*/ 20 h 366"/>
              <a:gd name="T32" fmla="*/ 44 w 712"/>
              <a:gd name="T33" fmla="*/ 9 h 366"/>
              <a:gd name="T34" fmla="*/ 46 w 712"/>
              <a:gd name="T35" fmla="*/ 3 h 366"/>
              <a:gd name="T36" fmla="*/ 48 w 712"/>
              <a:gd name="T37" fmla="*/ 10 h 366"/>
              <a:gd name="T38" fmla="*/ 50 w 712"/>
              <a:gd name="T39" fmla="*/ 16 h 366"/>
              <a:gd name="T40" fmla="*/ 61 w 712"/>
              <a:gd name="T41" fmla="*/ 24 h 366"/>
              <a:gd name="T42" fmla="*/ 81 w 712"/>
              <a:gd name="T43" fmla="*/ 40 h 366"/>
              <a:gd name="T44" fmla="*/ 90 w 712"/>
              <a:gd name="T45" fmla="*/ 47 h 366"/>
              <a:gd name="T46" fmla="*/ 99 w 712"/>
              <a:gd name="T47" fmla="*/ 51 h 366"/>
              <a:gd name="T48" fmla="*/ 109 w 712"/>
              <a:gd name="T49" fmla="*/ 51 h 366"/>
              <a:gd name="T50" fmla="*/ 116 w 712"/>
              <a:gd name="T51" fmla="*/ 49 h 366"/>
              <a:gd name="T52" fmla="*/ 124 w 712"/>
              <a:gd name="T53" fmla="*/ 43 h 366"/>
              <a:gd name="T54" fmla="*/ 133 w 712"/>
              <a:gd name="T55" fmla="*/ 32 h 366"/>
              <a:gd name="T56" fmla="*/ 140 w 712"/>
              <a:gd name="T57" fmla="*/ 26 h 366"/>
              <a:gd name="T58" fmla="*/ 148 w 712"/>
              <a:gd name="T59" fmla="*/ 23 h 366"/>
              <a:gd name="T60" fmla="*/ 157 w 712"/>
              <a:gd name="T61" fmla="*/ 23 h 366"/>
              <a:gd name="T62" fmla="*/ 167 w 712"/>
              <a:gd name="T63" fmla="*/ 27 h 366"/>
              <a:gd name="T64" fmla="*/ 178 w 712"/>
              <a:gd name="T65" fmla="*/ 32 h 366"/>
              <a:gd name="T66" fmla="*/ 171 w 712"/>
              <a:gd name="T67" fmla="*/ 35 h 366"/>
              <a:gd name="T68" fmla="*/ 156 w 712"/>
              <a:gd name="T69" fmla="*/ 30 h 366"/>
              <a:gd name="T70" fmla="*/ 148 w 712"/>
              <a:gd name="T71" fmla="*/ 29 h 366"/>
              <a:gd name="T72" fmla="*/ 138 w 712"/>
              <a:gd name="T73" fmla="*/ 31 h 366"/>
              <a:gd name="T74" fmla="*/ 132 w 712"/>
              <a:gd name="T75" fmla="*/ 37 h 366"/>
              <a:gd name="T76" fmla="*/ 140 w 712"/>
              <a:gd name="T77" fmla="*/ 34 h 366"/>
              <a:gd name="T78" fmla="*/ 151 w 712"/>
              <a:gd name="T79" fmla="*/ 32 h 366"/>
              <a:gd name="T80" fmla="*/ 159 w 712"/>
              <a:gd name="T81" fmla="*/ 33 h 366"/>
              <a:gd name="T82" fmla="*/ 165 w 712"/>
              <a:gd name="T83" fmla="*/ 38 h 366"/>
              <a:gd name="T84" fmla="*/ 162 w 712"/>
              <a:gd name="T85" fmla="*/ 40 h 366"/>
              <a:gd name="T86" fmla="*/ 156 w 712"/>
              <a:gd name="T87" fmla="*/ 40 h 366"/>
              <a:gd name="T88" fmla="*/ 144 w 712"/>
              <a:gd name="T89" fmla="*/ 43 h 366"/>
              <a:gd name="T90" fmla="*/ 130 w 712"/>
              <a:gd name="T91" fmla="*/ 51 h 366"/>
              <a:gd name="T92" fmla="*/ 117 w 712"/>
              <a:gd name="T93" fmla="*/ 63 h 366"/>
              <a:gd name="T94" fmla="*/ 102 w 712"/>
              <a:gd name="T95" fmla="*/ 77 h 366"/>
              <a:gd name="T96" fmla="*/ 92 w 712"/>
              <a:gd name="T97" fmla="*/ 82 h 366"/>
              <a:gd name="T98" fmla="*/ 85 w 712"/>
              <a:gd name="T99" fmla="*/ 83 h 366"/>
              <a:gd name="T100" fmla="*/ 81 w 712"/>
              <a:gd name="T101" fmla="*/ 81 h 366"/>
              <a:gd name="T102" fmla="*/ 77 w 712"/>
              <a:gd name="T103" fmla="*/ 81 h 366"/>
              <a:gd name="T104" fmla="*/ 75 w 712"/>
              <a:gd name="T105" fmla="*/ 84 h 366"/>
              <a:gd name="T106" fmla="*/ 75 w 712"/>
              <a:gd name="T107" fmla="*/ 93 h 366"/>
              <a:gd name="T108" fmla="*/ 71 w 712"/>
              <a:gd name="T109" fmla="*/ 93 h 366"/>
              <a:gd name="T110" fmla="*/ 49 w 712"/>
              <a:gd name="T111" fmla="*/ 91 h 366"/>
              <a:gd name="T112" fmla="*/ 37 w 712"/>
              <a:gd name="T113" fmla="*/ 90 h 366"/>
              <a:gd name="T114" fmla="*/ 28 w 712"/>
              <a:gd name="T115" fmla="*/ 87 h 366"/>
              <a:gd name="T116" fmla="*/ 14 w 712"/>
              <a:gd name="T117" fmla="*/ 77 h 366"/>
              <a:gd name="T118" fmla="*/ 6 w 712"/>
              <a:gd name="T119" fmla="*/ 72 h 366"/>
              <a:gd name="T120" fmla="*/ 0 w 712"/>
              <a:gd name="T121" fmla="*/ 66 h 366"/>
              <a:gd name="T122" fmla="*/ 8 w 712"/>
              <a:gd name="T123" fmla="*/ 69 h 366"/>
              <a:gd name="T124" fmla="*/ 7 w 712"/>
              <a:gd name="T125" fmla="*/ 72 h 36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712"/>
              <a:gd name="T190" fmla="*/ 0 h 366"/>
              <a:gd name="T191" fmla="*/ 712 w 712"/>
              <a:gd name="T192" fmla="*/ 366 h 36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712" h="366">
                <a:moveTo>
                  <a:pt x="29" y="284"/>
                </a:moveTo>
                <a:lnTo>
                  <a:pt x="48" y="269"/>
                </a:lnTo>
                <a:lnTo>
                  <a:pt x="59" y="251"/>
                </a:lnTo>
                <a:lnTo>
                  <a:pt x="86" y="272"/>
                </a:lnTo>
                <a:lnTo>
                  <a:pt x="102" y="284"/>
                </a:lnTo>
                <a:lnTo>
                  <a:pt x="117" y="288"/>
                </a:lnTo>
                <a:lnTo>
                  <a:pt x="119" y="284"/>
                </a:lnTo>
                <a:lnTo>
                  <a:pt x="123" y="276"/>
                </a:lnTo>
                <a:lnTo>
                  <a:pt x="119" y="269"/>
                </a:lnTo>
                <a:lnTo>
                  <a:pt x="117" y="263"/>
                </a:lnTo>
                <a:lnTo>
                  <a:pt x="130" y="259"/>
                </a:lnTo>
                <a:lnTo>
                  <a:pt x="138" y="255"/>
                </a:lnTo>
                <a:lnTo>
                  <a:pt x="146" y="244"/>
                </a:lnTo>
                <a:lnTo>
                  <a:pt x="153" y="236"/>
                </a:lnTo>
                <a:lnTo>
                  <a:pt x="157" y="226"/>
                </a:lnTo>
                <a:lnTo>
                  <a:pt x="161" y="219"/>
                </a:lnTo>
                <a:lnTo>
                  <a:pt x="173" y="211"/>
                </a:lnTo>
                <a:lnTo>
                  <a:pt x="184" y="207"/>
                </a:lnTo>
                <a:lnTo>
                  <a:pt x="219" y="207"/>
                </a:lnTo>
                <a:lnTo>
                  <a:pt x="224" y="207"/>
                </a:lnTo>
                <a:lnTo>
                  <a:pt x="236" y="207"/>
                </a:lnTo>
                <a:lnTo>
                  <a:pt x="244" y="201"/>
                </a:lnTo>
                <a:lnTo>
                  <a:pt x="247" y="198"/>
                </a:lnTo>
                <a:lnTo>
                  <a:pt x="247" y="190"/>
                </a:lnTo>
                <a:lnTo>
                  <a:pt x="244" y="178"/>
                </a:lnTo>
                <a:lnTo>
                  <a:pt x="240" y="173"/>
                </a:lnTo>
                <a:lnTo>
                  <a:pt x="232" y="165"/>
                </a:lnTo>
                <a:lnTo>
                  <a:pt x="228" y="157"/>
                </a:lnTo>
                <a:lnTo>
                  <a:pt x="236" y="132"/>
                </a:lnTo>
                <a:lnTo>
                  <a:pt x="244" y="103"/>
                </a:lnTo>
                <a:lnTo>
                  <a:pt x="219" y="92"/>
                </a:lnTo>
                <a:lnTo>
                  <a:pt x="203" y="77"/>
                </a:lnTo>
                <a:lnTo>
                  <a:pt x="188" y="57"/>
                </a:lnTo>
                <a:lnTo>
                  <a:pt x="176" y="36"/>
                </a:lnTo>
                <a:lnTo>
                  <a:pt x="176" y="0"/>
                </a:lnTo>
                <a:lnTo>
                  <a:pt x="184" y="11"/>
                </a:lnTo>
                <a:lnTo>
                  <a:pt x="188" y="27"/>
                </a:lnTo>
                <a:lnTo>
                  <a:pt x="192" y="40"/>
                </a:lnTo>
                <a:lnTo>
                  <a:pt x="196" y="52"/>
                </a:lnTo>
                <a:lnTo>
                  <a:pt x="203" y="61"/>
                </a:lnTo>
                <a:lnTo>
                  <a:pt x="215" y="73"/>
                </a:lnTo>
                <a:lnTo>
                  <a:pt x="244" y="96"/>
                </a:lnTo>
                <a:lnTo>
                  <a:pt x="301" y="136"/>
                </a:lnTo>
                <a:lnTo>
                  <a:pt x="322" y="157"/>
                </a:lnTo>
                <a:lnTo>
                  <a:pt x="345" y="178"/>
                </a:lnTo>
                <a:lnTo>
                  <a:pt x="361" y="186"/>
                </a:lnTo>
                <a:lnTo>
                  <a:pt x="376" y="198"/>
                </a:lnTo>
                <a:lnTo>
                  <a:pt x="399" y="201"/>
                </a:lnTo>
                <a:lnTo>
                  <a:pt x="420" y="203"/>
                </a:lnTo>
                <a:lnTo>
                  <a:pt x="439" y="201"/>
                </a:lnTo>
                <a:lnTo>
                  <a:pt x="455" y="198"/>
                </a:lnTo>
                <a:lnTo>
                  <a:pt x="466" y="194"/>
                </a:lnTo>
                <a:lnTo>
                  <a:pt x="478" y="186"/>
                </a:lnTo>
                <a:lnTo>
                  <a:pt x="497" y="169"/>
                </a:lnTo>
                <a:lnTo>
                  <a:pt x="516" y="146"/>
                </a:lnTo>
                <a:lnTo>
                  <a:pt x="530" y="128"/>
                </a:lnTo>
                <a:lnTo>
                  <a:pt x="549" y="111"/>
                </a:lnTo>
                <a:lnTo>
                  <a:pt x="560" y="103"/>
                </a:lnTo>
                <a:lnTo>
                  <a:pt x="576" y="96"/>
                </a:lnTo>
                <a:lnTo>
                  <a:pt x="591" y="92"/>
                </a:lnTo>
                <a:lnTo>
                  <a:pt x="606" y="92"/>
                </a:lnTo>
                <a:lnTo>
                  <a:pt x="628" y="92"/>
                </a:lnTo>
                <a:lnTo>
                  <a:pt x="643" y="96"/>
                </a:lnTo>
                <a:lnTo>
                  <a:pt x="666" y="107"/>
                </a:lnTo>
                <a:lnTo>
                  <a:pt x="685" y="117"/>
                </a:lnTo>
                <a:lnTo>
                  <a:pt x="712" y="128"/>
                </a:lnTo>
                <a:lnTo>
                  <a:pt x="712" y="146"/>
                </a:lnTo>
                <a:lnTo>
                  <a:pt x="681" y="140"/>
                </a:lnTo>
                <a:lnTo>
                  <a:pt x="654" y="128"/>
                </a:lnTo>
                <a:lnTo>
                  <a:pt x="624" y="117"/>
                </a:lnTo>
                <a:lnTo>
                  <a:pt x="610" y="115"/>
                </a:lnTo>
                <a:lnTo>
                  <a:pt x="591" y="115"/>
                </a:lnTo>
                <a:lnTo>
                  <a:pt x="568" y="117"/>
                </a:lnTo>
                <a:lnTo>
                  <a:pt x="549" y="121"/>
                </a:lnTo>
                <a:lnTo>
                  <a:pt x="533" y="132"/>
                </a:lnTo>
                <a:lnTo>
                  <a:pt x="526" y="146"/>
                </a:lnTo>
                <a:lnTo>
                  <a:pt x="545" y="140"/>
                </a:lnTo>
                <a:lnTo>
                  <a:pt x="560" y="136"/>
                </a:lnTo>
                <a:lnTo>
                  <a:pt x="580" y="132"/>
                </a:lnTo>
                <a:lnTo>
                  <a:pt x="603" y="128"/>
                </a:lnTo>
                <a:lnTo>
                  <a:pt x="624" y="128"/>
                </a:lnTo>
                <a:lnTo>
                  <a:pt x="635" y="132"/>
                </a:lnTo>
                <a:lnTo>
                  <a:pt x="662" y="144"/>
                </a:lnTo>
                <a:lnTo>
                  <a:pt x="658" y="150"/>
                </a:lnTo>
                <a:lnTo>
                  <a:pt x="654" y="153"/>
                </a:lnTo>
                <a:lnTo>
                  <a:pt x="647" y="157"/>
                </a:lnTo>
                <a:lnTo>
                  <a:pt x="639" y="157"/>
                </a:lnTo>
                <a:lnTo>
                  <a:pt x="624" y="157"/>
                </a:lnTo>
                <a:lnTo>
                  <a:pt x="603" y="161"/>
                </a:lnTo>
                <a:lnTo>
                  <a:pt x="576" y="169"/>
                </a:lnTo>
                <a:lnTo>
                  <a:pt x="545" y="182"/>
                </a:lnTo>
                <a:lnTo>
                  <a:pt x="518" y="201"/>
                </a:lnTo>
                <a:lnTo>
                  <a:pt x="501" y="219"/>
                </a:lnTo>
                <a:lnTo>
                  <a:pt x="470" y="251"/>
                </a:lnTo>
                <a:lnTo>
                  <a:pt x="432" y="288"/>
                </a:lnTo>
                <a:lnTo>
                  <a:pt x="411" y="305"/>
                </a:lnTo>
                <a:lnTo>
                  <a:pt x="391" y="320"/>
                </a:lnTo>
                <a:lnTo>
                  <a:pt x="368" y="326"/>
                </a:lnTo>
                <a:lnTo>
                  <a:pt x="345" y="330"/>
                </a:lnTo>
                <a:lnTo>
                  <a:pt x="338" y="330"/>
                </a:lnTo>
                <a:lnTo>
                  <a:pt x="330" y="326"/>
                </a:lnTo>
                <a:lnTo>
                  <a:pt x="322" y="322"/>
                </a:lnTo>
                <a:lnTo>
                  <a:pt x="313" y="322"/>
                </a:lnTo>
                <a:lnTo>
                  <a:pt x="305" y="322"/>
                </a:lnTo>
                <a:lnTo>
                  <a:pt x="301" y="326"/>
                </a:lnTo>
                <a:lnTo>
                  <a:pt x="297" y="334"/>
                </a:lnTo>
                <a:lnTo>
                  <a:pt x="297" y="363"/>
                </a:lnTo>
                <a:lnTo>
                  <a:pt x="297" y="366"/>
                </a:lnTo>
                <a:lnTo>
                  <a:pt x="294" y="366"/>
                </a:lnTo>
                <a:lnTo>
                  <a:pt x="282" y="366"/>
                </a:lnTo>
                <a:lnTo>
                  <a:pt x="259" y="363"/>
                </a:lnTo>
                <a:lnTo>
                  <a:pt x="199" y="363"/>
                </a:lnTo>
                <a:lnTo>
                  <a:pt x="169" y="359"/>
                </a:lnTo>
                <a:lnTo>
                  <a:pt x="146" y="359"/>
                </a:lnTo>
                <a:lnTo>
                  <a:pt x="127" y="351"/>
                </a:lnTo>
                <a:lnTo>
                  <a:pt x="113" y="345"/>
                </a:lnTo>
                <a:lnTo>
                  <a:pt x="82" y="326"/>
                </a:lnTo>
                <a:lnTo>
                  <a:pt x="56" y="305"/>
                </a:lnTo>
                <a:lnTo>
                  <a:pt x="40" y="292"/>
                </a:lnTo>
                <a:lnTo>
                  <a:pt x="25" y="284"/>
                </a:lnTo>
                <a:lnTo>
                  <a:pt x="11" y="276"/>
                </a:lnTo>
                <a:lnTo>
                  <a:pt x="0" y="263"/>
                </a:lnTo>
                <a:lnTo>
                  <a:pt x="21" y="269"/>
                </a:lnTo>
                <a:lnTo>
                  <a:pt x="32" y="272"/>
                </a:lnTo>
                <a:lnTo>
                  <a:pt x="44" y="272"/>
                </a:lnTo>
                <a:lnTo>
                  <a:pt x="29" y="284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72" name="Freeform 523"/>
          <p:cNvSpPr>
            <a:spLocks/>
          </p:cNvSpPr>
          <p:nvPr/>
        </p:nvSpPr>
        <p:spPr bwMode="gray">
          <a:xfrm>
            <a:off x="5939619" y="4417651"/>
            <a:ext cx="42419" cy="58361"/>
          </a:xfrm>
          <a:custGeom>
            <a:avLst/>
            <a:gdLst>
              <a:gd name="T0" fmla="*/ 0 w 109"/>
              <a:gd name="T1" fmla="*/ 24 h 149"/>
              <a:gd name="T2" fmla="*/ 1 w 109"/>
              <a:gd name="T3" fmla="*/ 27 h 149"/>
              <a:gd name="T4" fmla="*/ 3 w 109"/>
              <a:gd name="T5" fmla="*/ 30 h 149"/>
              <a:gd name="T6" fmla="*/ 6 w 109"/>
              <a:gd name="T7" fmla="*/ 31 h 149"/>
              <a:gd name="T8" fmla="*/ 9 w 109"/>
              <a:gd name="T9" fmla="*/ 32 h 149"/>
              <a:gd name="T10" fmla="*/ 12 w 109"/>
              <a:gd name="T11" fmla="*/ 34 h 149"/>
              <a:gd name="T12" fmla="*/ 13 w 109"/>
              <a:gd name="T13" fmla="*/ 36 h 149"/>
              <a:gd name="T14" fmla="*/ 16 w 109"/>
              <a:gd name="T15" fmla="*/ 37 h 149"/>
              <a:gd name="T16" fmla="*/ 19 w 109"/>
              <a:gd name="T17" fmla="*/ 38 h 149"/>
              <a:gd name="T18" fmla="*/ 23 w 109"/>
              <a:gd name="T19" fmla="*/ 37 h 149"/>
              <a:gd name="T20" fmla="*/ 26 w 109"/>
              <a:gd name="T21" fmla="*/ 34 h 149"/>
              <a:gd name="T22" fmla="*/ 27 w 109"/>
              <a:gd name="T23" fmla="*/ 31 h 149"/>
              <a:gd name="T24" fmla="*/ 28 w 109"/>
              <a:gd name="T25" fmla="*/ 28 h 149"/>
              <a:gd name="T26" fmla="*/ 28 w 109"/>
              <a:gd name="T27" fmla="*/ 19 h 149"/>
              <a:gd name="T28" fmla="*/ 13 w 109"/>
              <a:gd name="T29" fmla="*/ 0 h 149"/>
              <a:gd name="T30" fmla="*/ 9 w 109"/>
              <a:gd name="T31" fmla="*/ 6 h 149"/>
              <a:gd name="T32" fmla="*/ 5 w 109"/>
              <a:gd name="T33" fmla="*/ 11 h 149"/>
              <a:gd name="T34" fmla="*/ 1 w 109"/>
              <a:gd name="T35" fmla="*/ 16 h 149"/>
              <a:gd name="T36" fmla="*/ 0 w 109"/>
              <a:gd name="T37" fmla="*/ 20 h 149"/>
              <a:gd name="T38" fmla="*/ 0 w 109"/>
              <a:gd name="T39" fmla="*/ 24 h 149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09"/>
              <a:gd name="T61" fmla="*/ 0 h 149"/>
              <a:gd name="T62" fmla="*/ 109 w 109"/>
              <a:gd name="T63" fmla="*/ 149 h 149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09" h="149">
                <a:moveTo>
                  <a:pt x="0" y="96"/>
                </a:moveTo>
                <a:lnTo>
                  <a:pt x="4" y="105"/>
                </a:lnTo>
                <a:lnTo>
                  <a:pt x="11" y="117"/>
                </a:lnTo>
                <a:lnTo>
                  <a:pt x="23" y="124"/>
                </a:lnTo>
                <a:lnTo>
                  <a:pt x="34" y="128"/>
                </a:lnTo>
                <a:lnTo>
                  <a:pt x="46" y="134"/>
                </a:lnTo>
                <a:lnTo>
                  <a:pt x="52" y="142"/>
                </a:lnTo>
                <a:lnTo>
                  <a:pt x="63" y="145"/>
                </a:lnTo>
                <a:lnTo>
                  <a:pt x="75" y="149"/>
                </a:lnTo>
                <a:lnTo>
                  <a:pt x="90" y="145"/>
                </a:lnTo>
                <a:lnTo>
                  <a:pt x="102" y="134"/>
                </a:lnTo>
                <a:lnTo>
                  <a:pt x="105" y="124"/>
                </a:lnTo>
                <a:lnTo>
                  <a:pt x="109" y="109"/>
                </a:lnTo>
                <a:lnTo>
                  <a:pt x="109" y="74"/>
                </a:lnTo>
                <a:lnTo>
                  <a:pt x="52" y="0"/>
                </a:lnTo>
                <a:lnTo>
                  <a:pt x="34" y="21"/>
                </a:lnTo>
                <a:lnTo>
                  <a:pt x="19" y="42"/>
                </a:lnTo>
                <a:lnTo>
                  <a:pt x="4" y="63"/>
                </a:lnTo>
                <a:lnTo>
                  <a:pt x="0" y="78"/>
                </a:lnTo>
                <a:lnTo>
                  <a:pt x="0" y="96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73" name="Freeform 524"/>
          <p:cNvSpPr>
            <a:spLocks/>
          </p:cNvSpPr>
          <p:nvPr/>
        </p:nvSpPr>
        <p:spPr bwMode="gray">
          <a:xfrm>
            <a:off x="4796634" y="3308799"/>
            <a:ext cx="198981" cy="120612"/>
          </a:xfrm>
          <a:custGeom>
            <a:avLst/>
            <a:gdLst>
              <a:gd name="T0" fmla="*/ 36 w 517"/>
              <a:gd name="T1" fmla="*/ 70 h 311"/>
              <a:gd name="T2" fmla="*/ 43 w 517"/>
              <a:gd name="T3" fmla="*/ 67 h 311"/>
              <a:gd name="T4" fmla="*/ 48 w 517"/>
              <a:gd name="T5" fmla="*/ 57 h 311"/>
              <a:gd name="T6" fmla="*/ 64 w 517"/>
              <a:gd name="T7" fmla="*/ 51 h 311"/>
              <a:gd name="T8" fmla="*/ 72 w 517"/>
              <a:gd name="T9" fmla="*/ 57 h 311"/>
              <a:gd name="T10" fmla="*/ 54 w 517"/>
              <a:gd name="T11" fmla="*/ 73 h 311"/>
              <a:gd name="T12" fmla="*/ 46 w 517"/>
              <a:gd name="T13" fmla="*/ 74 h 311"/>
              <a:gd name="T14" fmla="*/ 43 w 517"/>
              <a:gd name="T15" fmla="*/ 77 h 311"/>
              <a:gd name="T16" fmla="*/ 54 w 517"/>
              <a:gd name="T17" fmla="*/ 76 h 311"/>
              <a:gd name="T18" fmla="*/ 75 w 517"/>
              <a:gd name="T19" fmla="*/ 68 h 311"/>
              <a:gd name="T20" fmla="*/ 81 w 517"/>
              <a:gd name="T21" fmla="*/ 58 h 311"/>
              <a:gd name="T22" fmla="*/ 87 w 517"/>
              <a:gd name="T23" fmla="*/ 52 h 311"/>
              <a:gd name="T24" fmla="*/ 94 w 517"/>
              <a:gd name="T25" fmla="*/ 52 h 311"/>
              <a:gd name="T26" fmla="*/ 102 w 517"/>
              <a:gd name="T27" fmla="*/ 58 h 311"/>
              <a:gd name="T28" fmla="*/ 114 w 517"/>
              <a:gd name="T29" fmla="*/ 56 h 311"/>
              <a:gd name="T30" fmla="*/ 125 w 517"/>
              <a:gd name="T31" fmla="*/ 36 h 311"/>
              <a:gd name="T32" fmla="*/ 124 w 517"/>
              <a:gd name="T33" fmla="*/ 27 h 311"/>
              <a:gd name="T34" fmla="*/ 115 w 517"/>
              <a:gd name="T35" fmla="*/ 34 h 311"/>
              <a:gd name="T36" fmla="*/ 97 w 517"/>
              <a:gd name="T37" fmla="*/ 29 h 311"/>
              <a:gd name="T38" fmla="*/ 84 w 517"/>
              <a:gd name="T39" fmla="*/ 21 h 311"/>
              <a:gd name="T40" fmla="*/ 90 w 517"/>
              <a:gd name="T41" fmla="*/ 15 h 311"/>
              <a:gd name="T42" fmla="*/ 106 w 517"/>
              <a:gd name="T43" fmla="*/ 10 h 311"/>
              <a:gd name="T44" fmla="*/ 100 w 517"/>
              <a:gd name="T45" fmla="*/ 3 h 311"/>
              <a:gd name="T46" fmla="*/ 76 w 517"/>
              <a:gd name="T47" fmla="*/ 2 h 311"/>
              <a:gd name="T48" fmla="*/ 52 w 517"/>
              <a:gd name="T49" fmla="*/ 5 h 311"/>
              <a:gd name="T50" fmla="*/ 17 w 517"/>
              <a:gd name="T51" fmla="*/ 2 h 311"/>
              <a:gd name="T52" fmla="*/ 2 w 517"/>
              <a:gd name="T53" fmla="*/ 1 h 311"/>
              <a:gd name="T54" fmla="*/ 0 w 517"/>
              <a:gd name="T55" fmla="*/ 11 h 311"/>
              <a:gd name="T56" fmla="*/ 6 w 517"/>
              <a:gd name="T57" fmla="*/ 10 h 311"/>
              <a:gd name="T58" fmla="*/ 13 w 517"/>
              <a:gd name="T59" fmla="*/ 7 h 311"/>
              <a:gd name="T60" fmla="*/ 16 w 517"/>
              <a:gd name="T61" fmla="*/ 12 h 311"/>
              <a:gd name="T62" fmla="*/ 35 w 517"/>
              <a:gd name="T63" fmla="*/ 13 h 311"/>
              <a:gd name="T64" fmla="*/ 48 w 517"/>
              <a:gd name="T65" fmla="*/ 15 h 311"/>
              <a:gd name="T66" fmla="*/ 59 w 517"/>
              <a:gd name="T67" fmla="*/ 27 h 311"/>
              <a:gd name="T68" fmla="*/ 64 w 517"/>
              <a:gd name="T69" fmla="*/ 31 h 311"/>
              <a:gd name="T70" fmla="*/ 60 w 517"/>
              <a:gd name="T71" fmla="*/ 36 h 311"/>
              <a:gd name="T72" fmla="*/ 52 w 517"/>
              <a:gd name="T73" fmla="*/ 34 h 311"/>
              <a:gd name="T74" fmla="*/ 40 w 517"/>
              <a:gd name="T75" fmla="*/ 26 h 311"/>
              <a:gd name="T76" fmla="*/ 38 w 517"/>
              <a:gd name="T77" fmla="*/ 28 h 311"/>
              <a:gd name="T78" fmla="*/ 44 w 517"/>
              <a:gd name="T79" fmla="*/ 32 h 311"/>
              <a:gd name="T80" fmla="*/ 42 w 517"/>
              <a:gd name="T81" fmla="*/ 39 h 311"/>
              <a:gd name="T82" fmla="*/ 29 w 517"/>
              <a:gd name="T83" fmla="*/ 42 h 311"/>
              <a:gd name="T84" fmla="*/ 22 w 517"/>
              <a:gd name="T85" fmla="*/ 52 h 311"/>
              <a:gd name="T86" fmla="*/ 14 w 517"/>
              <a:gd name="T87" fmla="*/ 52 h 311"/>
              <a:gd name="T88" fmla="*/ 13 w 517"/>
              <a:gd name="T89" fmla="*/ 57 h 311"/>
              <a:gd name="T90" fmla="*/ 31 w 517"/>
              <a:gd name="T91" fmla="*/ 67 h 31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517"/>
              <a:gd name="T139" fmla="*/ 0 h 311"/>
              <a:gd name="T140" fmla="*/ 517 w 517"/>
              <a:gd name="T141" fmla="*/ 311 h 311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517" h="311">
                <a:moveTo>
                  <a:pt x="121" y="267"/>
                </a:moveTo>
                <a:lnTo>
                  <a:pt x="135" y="275"/>
                </a:lnTo>
                <a:lnTo>
                  <a:pt x="146" y="282"/>
                </a:lnTo>
                <a:lnTo>
                  <a:pt x="154" y="282"/>
                </a:lnTo>
                <a:lnTo>
                  <a:pt x="165" y="279"/>
                </a:lnTo>
                <a:lnTo>
                  <a:pt x="173" y="271"/>
                </a:lnTo>
                <a:lnTo>
                  <a:pt x="181" y="250"/>
                </a:lnTo>
                <a:lnTo>
                  <a:pt x="185" y="242"/>
                </a:lnTo>
                <a:lnTo>
                  <a:pt x="192" y="231"/>
                </a:lnTo>
                <a:lnTo>
                  <a:pt x="211" y="221"/>
                </a:lnTo>
                <a:lnTo>
                  <a:pt x="234" y="209"/>
                </a:lnTo>
                <a:lnTo>
                  <a:pt x="256" y="206"/>
                </a:lnTo>
                <a:lnTo>
                  <a:pt x="271" y="209"/>
                </a:lnTo>
                <a:lnTo>
                  <a:pt x="279" y="213"/>
                </a:lnTo>
                <a:lnTo>
                  <a:pt x="290" y="229"/>
                </a:lnTo>
                <a:lnTo>
                  <a:pt x="252" y="263"/>
                </a:lnTo>
                <a:lnTo>
                  <a:pt x="231" y="286"/>
                </a:lnTo>
                <a:lnTo>
                  <a:pt x="219" y="292"/>
                </a:lnTo>
                <a:lnTo>
                  <a:pt x="204" y="296"/>
                </a:lnTo>
                <a:lnTo>
                  <a:pt x="188" y="296"/>
                </a:lnTo>
                <a:lnTo>
                  <a:pt x="185" y="296"/>
                </a:lnTo>
                <a:lnTo>
                  <a:pt x="181" y="296"/>
                </a:lnTo>
                <a:lnTo>
                  <a:pt x="177" y="303"/>
                </a:lnTo>
                <a:lnTo>
                  <a:pt x="173" y="311"/>
                </a:lnTo>
                <a:lnTo>
                  <a:pt x="185" y="311"/>
                </a:lnTo>
                <a:lnTo>
                  <a:pt x="192" y="311"/>
                </a:lnTo>
                <a:lnTo>
                  <a:pt x="219" y="307"/>
                </a:lnTo>
                <a:lnTo>
                  <a:pt x="250" y="300"/>
                </a:lnTo>
                <a:lnTo>
                  <a:pt x="279" y="288"/>
                </a:lnTo>
                <a:lnTo>
                  <a:pt x="302" y="275"/>
                </a:lnTo>
                <a:lnTo>
                  <a:pt x="309" y="267"/>
                </a:lnTo>
                <a:lnTo>
                  <a:pt x="313" y="257"/>
                </a:lnTo>
                <a:lnTo>
                  <a:pt x="325" y="234"/>
                </a:lnTo>
                <a:lnTo>
                  <a:pt x="328" y="225"/>
                </a:lnTo>
                <a:lnTo>
                  <a:pt x="336" y="213"/>
                </a:lnTo>
                <a:lnTo>
                  <a:pt x="348" y="209"/>
                </a:lnTo>
                <a:lnTo>
                  <a:pt x="359" y="206"/>
                </a:lnTo>
                <a:lnTo>
                  <a:pt x="371" y="206"/>
                </a:lnTo>
                <a:lnTo>
                  <a:pt x="376" y="209"/>
                </a:lnTo>
                <a:lnTo>
                  <a:pt x="392" y="221"/>
                </a:lnTo>
                <a:lnTo>
                  <a:pt x="403" y="231"/>
                </a:lnTo>
                <a:lnTo>
                  <a:pt x="411" y="234"/>
                </a:lnTo>
                <a:lnTo>
                  <a:pt x="419" y="238"/>
                </a:lnTo>
                <a:lnTo>
                  <a:pt x="438" y="231"/>
                </a:lnTo>
                <a:lnTo>
                  <a:pt x="457" y="225"/>
                </a:lnTo>
                <a:lnTo>
                  <a:pt x="472" y="206"/>
                </a:lnTo>
                <a:lnTo>
                  <a:pt x="484" y="188"/>
                </a:lnTo>
                <a:lnTo>
                  <a:pt x="501" y="144"/>
                </a:lnTo>
                <a:lnTo>
                  <a:pt x="517" y="106"/>
                </a:lnTo>
                <a:lnTo>
                  <a:pt x="505" y="106"/>
                </a:lnTo>
                <a:lnTo>
                  <a:pt x="497" y="110"/>
                </a:lnTo>
                <a:lnTo>
                  <a:pt x="484" y="119"/>
                </a:lnTo>
                <a:lnTo>
                  <a:pt x="472" y="135"/>
                </a:lnTo>
                <a:lnTo>
                  <a:pt x="461" y="138"/>
                </a:lnTo>
                <a:lnTo>
                  <a:pt x="449" y="138"/>
                </a:lnTo>
                <a:lnTo>
                  <a:pt x="426" y="135"/>
                </a:lnTo>
                <a:lnTo>
                  <a:pt x="388" y="119"/>
                </a:lnTo>
                <a:lnTo>
                  <a:pt x="352" y="102"/>
                </a:lnTo>
                <a:lnTo>
                  <a:pt x="340" y="90"/>
                </a:lnTo>
                <a:lnTo>
                  <a:pt x="336" y="87"/>
                </a:lnTo>
                <a:lnTo>
                  <a:pt x="340" y="77"/>
                </a:lnTo>
                <a:lnTo>
                  <a:pt x="348" y="69"/>
                </a:lnTo>
                <a:lnTo>
                  <a:pt x="363" y="62"/>
                </a:lnTo>
                <a:lnTo>
                  <a:pt x="376" y="54"/>
                </a:lnTo>
                <a:lnTo>
                  <a:pt x="411" y="48"/>
                </a:lnTo>
                <a:lnTo>
                  <a:pt x="426" y="40"/>
                </a:lnTo>
                <a:lnTo>
                  <a:pt x="434" y="37"/>
                </a:lnTo>
                <a:lnTo>
                  <a:pt x="419" y="23"/>
                </a:lnTo>
                <a:lnTo>
                  <a:pt x="400" y="12"/>
                </a:lnTo>
                <a:lnTo>
                  <a:pt x="373" y="4"/>
                </a:lnTo>
                <a:lnTo>
                  <a:pt x="348" y="4"/>
                </a:lnTo>
                <a:lnTo>
                  <a:pt x="305" y="8"/>
                </a:lnTo>
                <a:lnTo>
                  <a:pt x="275" y="12"/>
                </a:lnTo>
                <a:lnTo>
                  <a:pt x="242" y="19"/>
                </a:lnTo>
                <a:lnTo>
                  <a:pt x="208" y="23"/>
                </a:lnTo>
                <a:lnTo>
                  <a:pt x="117" y="23"/>
                </a:lnTo>
                <a:lnTo>
                  <a:pt x="102" y="16"/>
                </a:lnTo>
                <a:lnTo>
                  <a:pt x="71" y="8"/>
                </a:lnTo>
                <a:lnTo>
                  <a:pt x="25" y="0"/>
                </a:lnTo>
                <a:lnTo>
                  <a:pt x="18" y="0"/>
                </a:lnTo>
                <a:lnTo>
                  <a:pt x="10" y="4"/>
                </a:lnTo>
                <a:lnTo>
                  <a:pt x="6" y="16"/>
                </a:lnTo>
                <a:lnTo>
                  <a:pt x="4" y="29"/>
                </a:lnTo>
                <a:lnTo>
                  <a:pt x="0" y="44"/>
                </a:lnTo>
                <a:lnTo>
                  <a:pt x="0" y="58"/>
                </a:lnTo>
                <a:lnTo>
                  <a:pt x="14" y="58"/>
                </a:lnTo>
                <a:lnTo>
                  <a:pt x="25" y="40"/>
                </a:lnTo>
                <a:lnTo>
                  <a:pt x="33" y="33"/>
                </a:lnTo>
                <a:lnTo>
                  <a:pt x="44" y="29"/>
                </a:lnTo>
                <a:lnTo>
                  <a:pt x="52" y="29"/>
                </a:lnTo>
                <a:lnTo>
                  <a:pt x="60" y="37"/>
                </a:lnTo>
                <a:lnTo>
                  <a:pt x="60" y="44"/>
                </a:lnTo>
                <a:lnTo>
                  <a:pt x="64" y="48"/>
                </a:lnTo>
                <a:lnTo>
                  <a:pt x="83" y="54"/>
                </a:lnTo>
                <a:lnTo>
                  <a:pt x="106" y="58"/>
                </a:lnTo>
                <a:lnTo>
                  <a:pt x="142" y="54"/>
                </a:lnTo>
                <a:lnTo>
                  <a:pt x="162" y="54"/>
                </a:lnTo>
                <a:lnTo>
                  <a:pt x="181" y="58"/>
                </a:lnTo>
                <a:lnTo>
                  <a:pt x="192" y="62"/>
                </a:lnTo>
                <a:lnTo>
                  <a:pt x="204" y="69"/>
                </a:lnTo>
                <a:lnTo>
                  <a:pt x="219" y="87"/>
                </a:lnTo>
                <a:lnTo>
                  <a:pt x="238" y="110"/>
                </a:lnTo>
                <a:lnTo>
                  <a:pt x="250" y="115"/>
                </a:lnTo>
                <a:lnTo>
                  <a:pt x="252" y="119"/>
                </a:lnTo>
                <a:lnTo>
                  <a:pt x="256" y="127"/>
                </a:lnTo>
                <a:lnTo>
                  <a:pt x="252" y="135"/>
                </a:lnTo>
                <a:lnTo>
                  <a:pt x="250" y="138"/>
                </a:lnTo>
                <a:lnTo>
                  <a:pt x="242" y="144"/>
                </a:lnTo>
                <a:lnTo>
                  <a:pt x="234" y="144"/>
                </a:lnTo>
                <a:lnTo>
                  <a:pt x="219" y="144"/>
                </a:lnTo>
                <a:lnTo>
                  <a:pt x="211" y="138"/>
                </a:lnTo>
                <a:lnTo>
                  <a:pt x="192" y="123"/>
                </a:lnTo>
                <a:lnTo>
                  <a:pt x="173" y="110"/>
                </a:lnTo>
                <a:lnTo>
                  <a:pt x="162" y="106"/>
                </a:lnTo>
                <a:lnTo>
                  <a:pt x="146" y="102"/>
                </a:lnTo>
                <a:lnTo>
                  <a:pt x="150" y="110"/>
                </a:lnTo>
                <a:lnTo>
                  <a:pt x="154" y="115"/>
                </a:lnTo>
                <a:lnTo>
                  <a:pt x="165" y="123"/>
                </a:lnTo>
                <a:lnTo>
                  <a:pt x="173" y="127"/>
                </a:lnTo>
                <a:lnTo>
                  <a:pt x="177" y="131"/>
                </a:lnTo>
                <a:lnTo>
                  <a:pt x="177" y="138"/>
                </a:lnTo>
                <a:lnTo>
                  <a:pt x="177" y="148"/>
                </a:lnTo>
                <a:lnTo>
                  <a:pt x="169" y="156"/>
                </a:lnTo>
                <a:lnTo>
                  <a:pt x="162" y="159"/>
                </a:lnTo>
                <a:lnTo>
                  <a:pt x="154" y="163"/>
                </a:lnTo>
                <a:lnTo>
                  <a:pt x="117" y="171"/>
                </a:lnTo>
                <a:lnTo>
                  <a:pt x="110" y="181"/>
                </a:lnTo>
                <a:lnTo>
                  <a:pt x="98" y="202"/>
                </a:lnTo>
                <a:lnTo>
                  <a:pt x="90" y="209"/>
                </a:lnTo>
                <a:lnTo>
                  <a:pt x="83" y="217"/>
                </a:lnTo>
                <a:lnTo>
                  <a:pt x="71" y="217"/>
                </a:lnTo>
                <a:lnTo>
                  <a:pt x="56" y="209"/>
                </a:lnTo>
                <a:lnTo>
                  <a:pt x="41" y="209"/>
                </a:lnTo>
                <a:lnTo>
                  <a:pt x="44" y="221"/>
                </a:lnTo>
                <a:lnTo>
                  <a:pt x="52" y="231"/>
                </a:lnTo>
                <a:lnTo>
                  <a:pt x="79" y="254"/>
                </a:lnTo>
                <a:lnTo>
                  <a:pt x="110" y="267"/>
                </a:lnTo>
                <a:lnTo>
                  <a:pt x="125" y="271"/>
                </a:lnTo>
                <a:lnTo>
                  <a:pt x="135" y="275"/>
                </a:lnTo>
                <a:lnTo>
                  <a:pt x="121" y="267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74" name="Oval 20"/>
          <p:cNvSpPr>
            <a:spLocks noChangeArrowheads="1"/>
          </p:cNvSpPr>
          <p:nvPr/>
        </p:nvSpPr>
        <p:spPr bwMode="auto">
          <a:xfrm>
            <a:off x="4384045" y="4267767"/>
            <a:ext cx="185676" cy="185676"/>
          </a:xfrm>
          <a:prstGeom prst="ellipse">
            <a:avLst/>
          </a:prstGeom>
          <a:solidFill>
            <a:srgbClr val="3D6E81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hangingPunct="1"/>
            <a:r>
              <a:rPr lang="en-US" sz="1200" kern="1200" dirty="0">
                <a:solidFill>
                  <a:srgbClr val="FFFFFF"/>
                </a:solidFill>
                <a:ea typeface="+mn-ea"/>
                <a:cs typeface="+mn-cs"/>
              </a:rPr>
              <a:t>1</a:t>
            </a:r>
          </a:p>
        </p:txBody>
      </p:sp>
      <p:sp>
        <p:nvSpPr>
          <p:cNvPr id="75" name="Oval 20"/>
          <p:cNvSpPr>
            <a:spLocks noChangeArrowheads="1"/>
          </p:cNvSpPr>
          <p:nvPr/>
        </p:nvSpPr>
        <p:spPr bwMode="auto">
          <a:xfrm>
            <a:off x="5033459" y="4158290"/>
            <a:ext cx="185676" cy="185676"/>
          </a:xfrm>
          <a:prstGeom prst="ellipse">
            <a:avLst/>
          </a:prstGeom>
          <a:solidFill>
            <a:srgbClr val="3D6E81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hangingPunct="1"/>
            <a:r>
              <a:rPr lang="en-US" sz="1200" kern="1200" dirty="0">
                <a:solidFill>
                  <a:srgbClr val="FFFFFF"/>
                </a:solidFill>
                <a:ea typeface="+mn-ea"/>
                <a:cs typeface="+mn-cs"/>
              </a:rPr>
              <a:t>2</a:t>
            </a:r>
          </a:p>
        </p:txBody>
      </p:sp>
      <p:sp>
        <p:nvSpPr>
          <p:cNvPr id="76" name="Oval 20"/>
          <p:cNvSpPr>
            <a:spLocks noChangeArrowheads="1"/>
          </p:cNvSpPr>
          <p:nvPr/>
        </p:nvSpPr>
        <p:spPr bwMode="auto">
          <a:xfrm>
            <a:off x="6418272" y="4715437"/>
            <a:ext cx="185676" cy="185676"/>
          </a:xfrm>
          <a:prstGeom prst="ellipse">
            <a:avLst/>
          </a:prstGeom>
          <a:solidFill>
            <a:srgbClr val="3D6E81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hangingPunct="1"/>
            <a:r>
              <a:rPr lang="en-US" sz="1200" kern="1200" dirty="0">
                <a:solidFill>
                  <a:srgbClr val="FFFFFF"/>
                </a:solidFill>
                <a:ea typeface="+mn-ea"/>
                <a:cs typeface="+mn-cs"/>
              </a:rPr>
              <a:t>3</a:t>
            </a:r>
          </a:p>
        </p:txBody>
      </p:sp>
      <p:sp>
        <p:nvSpPr>
          <p:cNvPr id="77" name="Oval 20"/>
          <p:cNvSpPr>
            <a:spLocks noChangeArrowheads="1"/>
          </p:cNvSpPr>
          <p:nvPr/>
        </p:nvSpPr>
        <p:spPr bwMode="auto">
          <a:xfrm>
            <a:off x="6544508" y="4544466"/>
            <a:ext cx="185676" cy="185676"/>
          </a:xfrm>
          <a:prstGeom prst="ellipse">
            <a:avLst/>
          </a:prstGeom>
          <a:solidFill>
            <a:srgbClr val="E71C57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hangingPunct="1"/>
            <a:r>
              <a:rPr lang="en-US" sz="1200" b="1" kern="1200" dirty="0">
                <a:solidFill>
                  <a:srgbClr val="FFFFFF"/>
                </a:solidFill>
                <a:ea typeface="+mn-ea"/>
                <a:cs typeface="+mn-cs"/>
              </a:rPr>
              <a:t>4</a:t>
            </a:r>
          </a:p>
        </p:txBody>
      </p:sp>
      <p:sp>
        <p:nvSpPr>
          <p:cNvPr id="78" name="Oval 20"/>
          <p:cNvSpPr>
            <a:spLocks noChangeArrowheads="1"/>
          </p:cNvSpPr>
          <p:nvPr/>
        </p:nvSpPr>
        <p:spPr bwMode="auto">
          <a:xfrm>
            <a:off x="7058417" y="4358790"/>
            <a:ext cx="185676" cy="185676"/>
          </a:xfrm>
          <a:prstGeom prst="ellipse">
            <a:avLst/>
          </a:prstGeom>
          <a:solidFill>
            <a:srgbClr val="3D6E81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hangingPunct="1"/>
            <a:r>
              <a:rPr lang="en-US" sz="1200" kern="1200" dirty="0">
                <a:solidFill>
                  <a:srgbClr val="FFFFFF"/>
                </a:solidFill>
                <a:ea typeface="+mn-ea"/>
                <a:cs typeface="+mn-cs"/>
              </a:rPr>
              <a:t>5</a:t>
            </a:r>
          </a:p>
        </p:txBody>
      </p:sp>
      <p:grpSp>
        <p:nvGrpSpPr>
          <p:cNvPr id="79" name="Group 78"/>
          <p:cNvGrpSpPr/>
          <p:nvPr/>
        </p:nvGrpSpPr>
        <p:grpSpPr>
          <a:xfrm>
            <a:off x="7801487" y="2025202"/>
            <a:ext cx="306171" cy="3516780"/>
            <a:chOff x="8509946" y="2799234"/>
            <a:chExt cx="306171" cy="3516780"/>
          </a:xfrm>
        </p:grpSpPr>
        <p:cxnSp>
          <p:nvCxnSpPr>
            <p:cNvPr id="80" name="Straight Connector 79"/>
            <p:cNvCxnSpPr/>
            <p:nvPr/>
          </p:nvCxnSpPr>
          <p:spPr>
            <a:xfrm>
              <a:off x="8657681" y="2799234"/>
              <a:ext cx="0" cy="3516780"/>
            </a:xfrm>
            <a:prstGeom prst="line">
              <a:avLst/>
            </a:prstGeom>
            <a:ln w="19050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1" name="Group 80"/>
            <p:cNvGrpSpPr/>
            <p:nvPr/>
          </p:nvGrpSpPr>
          <p:grpSpPr>
            <a:xfrm>
              <a:off x="8509946" y="4404169"/>
              <a:ext cx="306171" cy="306910"/>
              <a:chOff x="5942914" y="3833745"/>
              <a:chExt cx="306171" cy="306910"/>
            </a:xfrm>
          </p:grpSpPr>
          <p:sp>
            <p:nvSpPr>
              <p:cNvPr id="82" name="Freeform 94"/>
              <p:cNvSpPr>
                <a:spLocks/>
              </p:cNvSpPr>
              <p:nvPr/>
            </p:nvSpPr>
            <p:spPr bwMode="gray">
              <a:xfrm>
                <a:off x="594291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solidFill>
                  <a:srgbClr val="808080"/>
                </a:solidFill>
              </a:ln>
              <a:extLst/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hangingPunct="1"/>
                <a:endParaRPr lang="en-US" kern="1200" dirty="0">
                  <a:solidFill>
                    <a:srgbClr val="6E6F73"/>
                  </a:solidFill>
                  <a:ea typeface="+mn-ea"/>
                  <a:cs typeface="+mn-cs"/>
                </a:endParaRPr>
              </a:p>
            </p:txBody>
          </p:sp>
          <p:sp>
            <p:nvSpPr>
              <p:cNvPr id="83" name="Freeform 95"/>
              <p:cNvSpPr>
                <a:spLocks/>
              </p:cNvSpPr>
              <p:nvPr/>
            </p:nvSpPr>
            <p:spPr bwMode="gray">
              <a:xfrm>
                <a:off x="605934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hangingPunct="1"/>
                <a:endParaRPr lang="en-US" kern="1200" dirty="0">
                  <a:solidFill>
                    <a:srgbClr val="6E6F73"/>
                  </a:solidFill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84" name="table_type_name"/>
          <p:cNvGraphicFramePr>
            <a:graphicFrameLocks noGrp="1"/>
          </p:cNvGraphicFramePr>
          <p:nvPr>
            <p:extLst/>
          </p:nvPr>
        </p:nvGraphicFramePr>
        <p:xfrm>
          <a:off x="8297557" y="2183261"/>
          <a:ext cx="3108960" cy="3154875"/>
        </p:xfrm>
        <a:graphic>
          <a:graphicData uri="http://schemas.openxmlformats.org/drawingml/2006/table">
            <a:tbl>
              <a:tblPr/>
              <a:tblGrid>
                <a:gridCol w="1828800"/>
                <a:gridCol w="1280160"/>
              </a:tblGrid>
              <a:tr h="41329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Supercluster</a:t>
                      </a:r>
                    </a:p>
                  </a:txBody>
                  <a:tcPr marL="0" marR="72000" marT="73152" marB="73152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Key sectors</a:t>
                      </a:r>
                    </a:p>
                  </a:txBody>
                  <a:tcPr marL="73152" marR="73152" marT="73152" marB="7315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25375"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rgbClr val="4D4D4D"/>
                          </a:solidFill>
                        </a:rPr>
                        <a:t>Digital Technology Supercluster</a:t>
                      </a:r>
                      <a:endParaRPr lang="en-US" sz="1200" dirty="0">
                        <a:solidFill>
                          <a:srgbClr val="4D4D4D"/>
                        </a:solidFill>
                      </a:endParaRPr>
                    </a:p>
                  </a:txBody>
                  <a:tcPr marL="274320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rgbClr val="4D4D4D"/>
                          </a:solidFill>
                        </a:rPr>
                        <a:t>Telecom,</a:t>
                      </a:r>
                      <a:r>
                        <a:rPr lang="en-US" sz="1200" baseline="0" dirty="0" smtClean="0">
                          <a:solidFill>
                            <a:srgbClr val="4D4D4D"/>
                          </a:solidFill>
                        </a:rPr>
                        <a:t> ICT</a:t>
                      </a:r>
                      <a:endParaRPr lang="en-US" sz="1200" dirty="0">
                        <a:solidFill>
                          <a:srgbClr val="4D4D4D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25375"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rgbClr val="4D4D4D"/>
                          </a:solidFill>
                        </a:rPr>
                        <a:t>Protein</a:t>
                      </a:r>
                      <a:r>
                        <a:rPr lang="en-US" sz="1200" baseline="0" dirty="0" smtClean="0">
                          <a:solidFill>
                            <a:srgbClr val="4D4D4D"/>
                          </a:solidFill>
                        </a:rPr>
                        <a:t> Innovations</a:t>
                      </a:r>
                      <a:endParaRPr lang="en-US" sz="1200" dirty="0">
                        <a:solidFill>
                          <a:srgbClr val="4D4D4D"/>
                        </a:solidFill>
                      </a:endParaRPr>
                    </a:p>
                  </a:txBody>
                  <a:tcPr marL="274320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err="1" smtClean="0">
                          <a:solidFill>
                            <a:srgbClr val="4D4D4D"/>
                          </a:solidFill>
                        </a:rPr>
                        <a:t>Agri</a:t>
                      </a:r>
                      <a:r>
                        <a:rPr lang="en-US" sz="1200" dirty="0" smtClean="0">
                          <a:solidFill>
                            <a:srgbClr val="4D4D4D"/>
                          </a:solidFill>
                        </a:rPr>
                        <a:t>-food</a:t>
                      </a:r>
                      <a:endParaRPr lang="en-US" sz="1200" dirty="0">
                        <a:solidFill>
                          <a:srgbClr val="4D4D4D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25375"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rgbClr val="4D4D4D"/>
                          </a:solidFill>
                        </a:rPr>
                        <a:t>Next Generation Manufacturing</a:t>
                      </a:r>
                      <a:endParaRPr lang="en-US" sz="1200" dirty="0">
                        <a:solidFill>
                          <a:srgbClr val="4D4D4D"/>
                        </a:solidFill>
                      </a:endParaRPr>
                    </a:p>
                  </a:txBody>
                  <a:tcPr marL="274320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rgbClr val="4D4D4D"/>
                          </a:solidFill>
                        </a:rPr>
                        <a:t>Manufacturing</a:t>
                      </a:r>
                      <a:endParaRPr lang="en-US" sz="1200" dirty="0">
                        <a:solidFill>
                          <a:srgbClr val="4D4D4D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25375"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rgbClr val="4D4D4D"/>
                          </a:solidFill>
                        </a:rPr>
                        <a:t>SCALE AI 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rgbClr val="4D4D4D"/>
                          </a:solidFill>
                        </a:rPr>
                        <a:t>AI-powered Supply Chains Supercluster</a:t>
                      </a:r>
                      <a:endParaRPr lang="en-US" sz="1200" dirty="0">
                        <a:solidFill>
                          <a:srgbClr val="4D4D4D"/>
                        </a:solidFill>
                      </a:endParaRPr>
                    </a:p>
                  </a:txBody>
                  <a:tcPr marL="274320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rgbClr val="4D4D4D"/>
                          </a:solidFill>
                        </a:rPr>
                        <a:t>Retail, Manufacturing, Transport, AI</a:t>
                      </a:r>
                      <a:endParaRPr lang="en-US" sz="1200" dirty="0">
                        <a:solidFill>
                          <a:srgbClr val="4D4D4D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</a:tr>
              <a:tr h="525375"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rgbClr val="4D4D4D"/>
                          </a:solidFill>
                        </a:rPr>
                        <a:t>Ocean Supercluster</a:t>
                      </a:r>
                      <a:endParaRPr lang="en-US" sz="1200" dirty="0">
                        <a:solidFill>
                          <a:srgbClr val="4D4D4D"/>
                        </a:solidFill>
                      </a:endParaRPr>
                    </a:p>
                  </a:txBody>
                  <a:tcPr marL="274320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rgbClr val="4D4D4D"/>
                          </a:solidFill>
                        </a:rPr>
                        <a:t>Fisheries, Oil &amp; Gas, Energy</a:t>
                      </a:r>
                      <a:endParaRPr lang="en-US" sz="1200" dirty="0">
                        <a:solidFill>
                          <a:srgbClr val="4D4D4D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85" name="Oval 20"/>
          <p:cNvSpPr>
            <a:spLocks noChangeArrowheads="1"/>
          </p:cNvSpPr>
          <p:nvPr/>
        </p:nvSpPr>
        <p:spPr bwMode="auto">
          <a:xfrm>
            <a:off x="8350454" y="4237411"/>
            <a:ext cx="182880" cy="182880"/>
          </a:xfrm>
          <a:prstGeom prst="ellipse">
            <a:avLst/>
          </a:prstGeom>
          <a:solidFill>
            <a:srgbClr val="E71C57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hangingPunct="1"/>
            <a:r>
              <a:rPr lang="en-US" sz="1200" b="1" kern="1200" dirty="0">
                <a:solidFill>
                  <a:srgbClr val="FFFFFF"/>
                </a:solidFill>
                <a:ea typeface="+mn-ea"/>
                <a:cs typeface="+mn-cs"/>
              </a:rPr>
              <a:t>4</a:t>
            </a:r>
          </a:p>
        </p:txBody>
      </p:sp>
      <p:sp>
        <p:nvSpPr>
          <p:cNvPr id="86" name="Oval 20"/>
          <p:cNvSpPr>
            <a:spLocks noChangeArrowheads="1"/>
          </p:cNvSpPr>
          <p:nvPr/>
        </p:nvSpPr>
        <p:spPr bwMode="auto">
          <a:xfrm>
            <a:off x="8350454" y="3177929"/>
            <a:ext cx="182880" cy="182880"/>
          </a:xfrm>
          <a:prstGeom prst="ellipse">
            <a:avLst/>
          </a:prstGeom>
          <a:solidFill>
            <a:srgbClr val="3D6E81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hangingPunct="1"/>
            <a:r>
              <a:rPr lang="en-US" sz="1200" kern="1200" dirty="0">
                <a:solidFill>
                  <a:srgbClr val="FFFFFF"/>
                </a:solidFill>
                <a:ea typeface="+mn-ea"/>
                <a:cs typeface="+mn-cs"/>
              </a:rPr>
              <a:t>2</a:t>
            </a:r>
          </a:p>
        </p:txBody>
      </p:sp>
      <p:sp>
        <p:nvSpPr>
          <p:cNvPr id="87" name="Oval 20"/>
          <p:cNvSpPr>
            <a:spLocks noChangeArrowheads="1"/>
          </p:cNvSpPr>
          <p:nvPr/>
        </p:nvSpPr>
        <p:spPr bwMode="auto">
          <a:xfrm>
            <a:off x="8350454" y="3707670"/>
            <a:ext cx="182880" cy="182880"/>
          </a:xfrm>
          <a:prstGeom prst="ellipse">
            <a:avLst/>
          </a:prstGeom>
          <a:solidFill>
            <a:srgbClr val="3D6E81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hangingPunct="1"/>
            <a:r>
              <a:rPr lang="en-US" sz="1200" kern="1200" dirty="0">
                <a:solidFill>
                  <a:srgbClr val="FFFFFF"/>
                </a:solidFill>
                <a:ea typeface="+mn-ea"/>
                <a:cs typeface="+mn-cs"/>
              </a:rPr>
              <a:t>3</a:t>
            </a:r>
          </a:p>
        </p:txBody>
      </p:sp>
      <p:sp>
        <p:nvSpPr>
          <p:cNvPr id="88" name="Oval 20"/>
          <p:cNvSpPr>
            <a:spLocks noChangeArrowheads="1"/>
          </p:cNvSpPr>
          <p:nvPr/>
        </p:nvSpPr>
        <p:spPr bwMode="auto">
          <a:xfrm>
            <a:off x="8351157" y="2648188"/>
            <a:ext cx="182880" cy="182880"/>
          </a:xfrm>
          <a:prstGeom prst="ellipse">
            <a:avLst/>
          </a:prstGeom>
          <a:solidFill>
            <a:srgbClr val="3D6E81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hangingPunct="1"/>
            <a:r>
              <a:rPr lang="en-US" sz="1200" kern="1200" dirty="0">
                <a:solidFill>
                  <a:srgbClr val="FFFFFF"/>
                </a:solidFill>
                <a:ea typeface="+mn-ea"/>
                <a:cs typeface="+mn-cs"/>
              </a:rPr>
              <a:t>1</a:t>
            </a:r>
          </a:p>
        </p:txBody>
      </p:sp>
      <p:sp>
        <p:nvSpPr>
          <p:cNvPr id="89" name="Oval 20"/>
          <p:cNvSpPr>
            <a:spLocks noChangeArrowheads="1"/>
          </p:cNvSpPr>
          <p:nvPr/>
        </p:nvSpPr>
        <p:spPr bwMode="auto">
          <a:xfrm>
            <a:off x="8350454" y="4853649"/>
            <a:ext cx="182880" cy="182880"/>
          </a:xfrm>
          <a:prstGeom prst="ellipse">
            <a:avLst/>
          </a:prstGeom>
          <a:solidFill>
            <a:srgbClr val="3D6E81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hangingPunct="1"/>
            <a:r>
              <a:rPr lang="en-US" sz="1200" kern="1200" dirty="0">
                <a:solidFill>
                  <a:srgbClr val="FFFFFF"/>
                </a:solidFill>
                <a:ea typeface="+mn-ea"/>
                <a:cs typeface="+mn-cs"/>
              </a:rPr>
              <a:t>5</a:t>
            </a:r>
          </a:p>
        </p:txBody>
      </p:sp>
      <p:grpSp>
        <p:nvGrpSpPr>
          <p:cNvPr id="90" name="Group 89"/>
          <p:cNvGrpSpPr/>
          <p:nvPr/>
        </p:nvGrpSpPr>
        <p:grpSpPr>
          <a:xfrm>
            <a:off x="3595293" y="2025202"/>
            <a:ext cx="306171" cy="3516780"/>
            <a:chOff x="8509946" y="2799234"/>
            <a:chExt cx="306171" cy="3516780"/>
          </a:xfrm>
        </p:grpSpPr>
        <p:cxnSp>
          <p:nvCxnSpPr>
            <p:cNvPr id="91" name="Straight Connector 90"/>
            <p:cNvCxnSpPr/>
            <p:nvPr/>
          </p:nvCxnSpPr>
          <p:spPr>
            <a:xfrm>
              <a:off x="8657681" y="2799234"/>
              <a:ext cx="0" cy="3516780"/>
            </a:xfrm>
            <a:prstGeom prst="line">
              <a:avLst/>
            </a:prstGeom>
            <a:ln w="19050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2" name="Group 91"/>
            <p:cNvGrpSpPr/>
            <p:nvPr/>
          </p:nvGrpSpPr>
          <p:grpSpPr>
            <a:xfrm>
              <a:off x="8509946" y="4404169"/>
              <a:ext cx="306171" cy="306910"/>
              <a:chOff x="5942914" y="3833745"/>
              <a:chExt cx="306171" cy="306910"/>
            </a:xfrm>
          </p:grpSpPr>
          <p:sp>
            <p:nvSpPr>
              <p:cNvPr id="93" name="Freeform 94"/>
              <p:cNvSpPr>
                <a:spLocks/>
              </p:cNvSpPr>
              <p:nvPr/>
            </p:nvSpPr>
            <p:spPr bwMode="gray">
              <a:xfrm>
                <a:off x="594291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solidFill>
                  <a:srgbClr val="808080"/>
                </a:solidFill>
              </a:ln>
              <a:extLst/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hangingPunct="1"/>
                <a:endParaRPr lang="en-US" kern="1200" dirty="0">
                  <a:solidFill>
                    <a:srgbClr val="6E6F73"/>
                  </a:solidFill>
                  <a:ea typeface="+mn-ea"/>
                  <a:cs typeface="+mn-cs"/>
                </a:endParaRPr>
              </a:p>
            </p:txBody>
          </p:sp>
          <p:sp>
            <p:nvSpPr>
              <p:cNvPr id="94" name="Freeform 95"/>
              <p:cNvSpPr>
                <a:spLocks/>
              </p:cNvSpPr>
              <p:nvPr/>
            </p:nvSpPr>
            <p:spPr bwMode="gray">
              <a:xfrm>
                <a:off x="605934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hangingPunct="1"/>
                <a:endParaRPr lang="en-US" kern="1200" dirty="0">
                  <a:solidFill>
                    <a:srgbClr val="6E6F73"/>
                  </a:solidFill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38345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CALE AI's strategy and what success will look like</a:t>
            </a:r>
            <a:endParaRPr lang="en-US" dirty="0"/>
          </a:p>
        </p:txBody>
      </p:sp>
      <p:sp>
        <p:nvSpPr>
          <p:cNvPr id="3" name="TextColumnContent"/>
          <p:cNvSpPr>
            <a:spLocks noChangeArrowheads="1"/>
          </p:cNvSpPr>
          <p:nvPr/>
        </p:nvSpPr>
        <p:spPr bwMode="gray">
          <a:xfrm>
            <a:off x="609660" y="2152477"/>
            <a:ext cx="3798434" cy="351677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tIns="91440" rIns="0" bIns="91440" anchor="ctr" anchorCtr="0"/>
          <a:lstStyle/>
          <a:p>
            <a:pPr>
              <a:spcBef>
                <a:spcPts val="600"/>
              </a:spcBef>
            </a:pPr>
            <a:r>
              <a:rPr lang="en-CA" b="1" dirty="0">
                <a:solidFill>
                  <a:srgbClr val="4D4D4D"/>
                </a:solidFill>
              </a:rPr>
              <a:t>B</a:t>
            </a:r>
            <a:r>
              <a:rPr lang="en-US" b="1" dirty="0">
                <a:solidFill>
                  <a:srgbClr val="4D4D4D"/>
                </a:solidFill>
              </a:rPr>
              <a:t>ring our successes in AI </a:t>
            </a:r>
            <a:r>
              <a:rPr lang="en-US" b="1" dirty="0" smtClean="0">
                <a:solidFill>
                  <a:srgbClr val="4D4D4D"/>
                </a:solidFill>
              </a:rPr>
              <a:t/>
            </a:r>
            <a:br>
              <a:rPr lang="en-US" b="1" dirty="0" smtClean="0">
                <a:solidFill>
                  <a:srgbClr val="4D4D4D"/>
                </a:solidFill>
              </a:rPr>
            </a:br>
            <a:r>
              <a:rPr lang="en-US" b="1" dirty="0" smtClean="0">
                <a:solidFill>
                  <a:srgbClr val="008FC8"/>
                </a:solidFill>
              </a:rPr>
              <a:t>from </a:t>
            </a:r>
            <a:r>
              <a:rPr lang="en-US" b="1" dirty="0">
                <a:solidFill>
                  <a:srgbClr val="008FC8"/>
                </a:solidFill>
              </a:rPr>
              <a:t>the lab to the </a:t>
            </a:r>
            <a:r>
              <a:rPr lang="en-US" b="1" dirty="0" smtClean="0">
                <a:solidFill>
                  <a:srgbClr val="008FC8"/>
                </a:solidFill>
              </a:rPr>
              <a:t>field</a:t>
            </a:r>
          </a:p>
          <a:p>
            <a:pPr marL="288925" lvl="1" indent="-174625">
              <a:spcBef>
                <a:spcPts val="600"/>
              </a:spcBef>
              <a:buClr>
                <a:srgbClr val="D2E0E6">
                  <a:lumMod val="25000"/>
                </a:srgbClr>
              </a:buClr>
              <a:buSzPct val="100000"/>
              <a:buFontTx/>
              <a:buChar char="•"/>
            </a:pPr>
            <a:r>
              <a:rPr lang="en-CA" u="sng" dirty="0" smtClean="0">
                <a:solidFill>
                  <a:srgbClr val="4D4D4D"/>
                </a:solidFill>
                <a:latin typeface="Arial" panose="020B0604020202020204" pitchFamily="34" charset="0"/>
              </a:rPr>
              <a:t>Adoption</a:t>
            </a:r>
            <a:r>
              <a:rPr lang="en-CA" dirty="0" smtClean="0">
                <a:solidFill>
                  <a:srgbClr val="4D4D4D"/>
                </a:solidFill>
                <a:latin typeface="Arial" panose="020B0604020202020204" pitchFamily="34" charset="0"/>
              </a:rPr>
              <a:t> enablement</a:t>
            </a:r>
            <a:endParaRPr lang="en-US" b="1" dirty="0" smtClean="0">
              <a:solidFill>
                <a:srgbClr val="008FC8"/>
              </a:solidFill>
            </a:endParaRPr>
          </a:p>
          <a:p>
            <a:pPr marL="288925" lvl="1" indent="-174625">
              <a:spcBef>
                <a:spcPts val="600"/>
              </a:spcBef>
              <a:buClr>
                <a:srgbClr val="D2E0E6">
                  <a:lumMod val="25000"/>
                </a:srgbClr>
              </a:buClr>
              <a:buSzPct val="100000"/>
              <a:buFontTx/>
              <a:buChar char="•"/>
            </a:pPr>
            <a:r>
              <a:rPr lang="en-CA" u="sng" dirty="0" smtClean="0">
                <a:solidFill>
                  <a:srgbClr val="4D4D4D"/>
                </a:solidFill>
                <a:latin typeface="Arial" panose="020B0604020202020204" pitchFamily="34" charset="0"/>
              </a:rPr>
              <a:t>Commercialization</a:t>
            </a:r>
            <a:r>
              <a:rPr lang="en-CA" dirty="0" smtClean="0">
                <a:solidFill>
                  <a:srgbClr val="4D4D4D"/>
                </a:solidFill>
                <a:latin typeface="Arial" panose="020B0604020202020204" pitchFamily="34" charset="0"/>
              </a:rPr>
              <a:t> enhancement</a:t>
            </a:r>
          </a:p>
          <a:p>
            <a:endParaRPr lang="en-US" b="1" dirty="0" smtClean="0">
              <a:solidFill>
                <a:srgbClr val="008FC8"/>
              </a:solidFill>
            </a:endParaRPr>
          </a:p>
          <a:p>
            <a:endParaRPr lang="en-US" b="1" dirty="0">
              <a:solidFill>
                <a:srgbClr val="008FC8"/>
              </a:solidFill>
            </a:endParaRPr>
          </a:p>
          <a:p>
            <a:endParaRPr lang="en-US" b="1" dirty="0">
              <a:solidFill>
                <a:srgbClr val="008FC8"/>
              </a:solidFill>
            </a:endParaRPr>
          </a:p>
          <a:p>
            <a:r>
              <a:rPr lang="en-US" b="1" dirty="0">
                <a:solidFill>
                  <a:srgbClr val="4D4D4D"/>
                </a:solidFill>
              </a:rPr>
              <a:t>Empower Canada as a</a:t>
            </a:r>
            <a:r>
              <a:rPr lang="en-US" b="1" dirty="0"/>
              <a:t> </a:t>
            </a:r>
            <a:r>
              <a:rPr lang="en-US" b="1" dirty="0">
                <a:solidFill>
                  <a:srgbClr val="008FC8"/>
                </a:solidFill>
              </a:rPr>
              <a:t>global hub for intelligent supply </a:t>
            </a:r>
            <a:r>
              <a:rPr lang="en-US" b="1" dirty="0" smtClean="0">
                <a:solidFill>
                  <a:srgbClr val="008FC8"/>
                </a:solidFill>
              </a:rPr>
              <a:t>chains</a:t>
            </a:r>
          </a:p>
          <a:p>
            <a:pPr marL="288925" lvl="1" indent="-174625">
              <a:spcBef>
                <a:spcPts val="600"/>
              </a:spcBef>
              <a:buClr>
                <a:srgbClr val="D2E0E6">
                  <a:lumMod val="25000"/>
                </a:srgbClr>
              </a:buClr>
              <a:buSzPct val="100000"/>
              <a:buFontTx/>
              <a:buChar char="•"/>
            </a:pPr>
            <a:r>
              <a:rPr lang="en-CA" u="sng" dirty="0" smtClean="0">
                <a:solidFill>
                  <a:srgbClr val="4D4D4D"/>
                </a:solidFill>
                <a:latin typeface="Arial" panose="020B0604020202020204" pitchFamily="34" charset="0"/>
              </a:rPr>
              <a:t>Business</a:t>
            </a:r>
            <a:r>
              <a:rPr lang="en-CA" dirty="0" smtClean="0">
                <a:solidFill>
                  <a:srgbClr val="4D4D4D"/>
                </a:solidFill>
                <a:latin typeface="Arial" panose="020B0604020202020204" pitchFamily="34" charset="0"/>
              </a:rPr>
              <a:t> solutions</a:t>
            </a:r>
          </a:p>
          <a:p>
            <a:pPr marL="288925" lvl="1" indent="-174625">
              <a:spcBef>
                <a:spcPts val="600"/>
              </a:spcBef>
              <a:buClr>
                <a:srgbClr val="D2E0E6">
                  <a:lumMod val="25000"/>
                </a:srgbClr>
              </a:buClr>
              <a:buSzPct val="100000"/>
              <a:buFontTx/>
              <a:buChar char="•"/>
            </a:pPr>
            <a:r>
              <a:rPr lang="en-CA" u="sng" dirty="0" smtClean="0">
                <a:solidFill>
                  <a:srgbClr val="4D4D4D"/>
                </a:solidFill>
                <a:latin typeface="Arial" panose="020B0604020202020204" pitchFamily="34" charset="0"/>
              </a:rPr>
              <a:t>Technology</a:t>
            </a:r>
            <a:r>
              <a:rPr lang="en-CA" dirty="0" smtClean="0">
                <a:solidFill>
                  <a:srgbClr val="4D4D4D"/>
                </a:solidFill>
                <a:latin typeface="Arial" panose="020B0604020202020204" pitchFamily="34" charset="0"/>
              </a:rPr>
              <a:t> landscape</a:t>
            </a:r>
            <a:endParaRPr lang="en-US" dirty="0">
              <a:solidFill>
                <a:srgbClr val="008FC8"/>
              </a:solidFill>
            </a:endParaRPr>
          </a:p>
          <a:p>
            <a:endParaRPr lang="en-US" b="1" dirty="0"/>
          </a:p>
        </p:txBody>
      </p:sp>
      <p:grpSp>
        <p:nvGrpSpPr>
          <p:cNvPr id="11" name="Group 10"/>
          <p:cNvGrpSpPr/>
          <p:nvPr/>
        </p:nvGrpSpPr>
        <p:grpSpPr>
          <a:xfrm>
            <a:off x="4766684" y="1923880"/>
            <a:ext cx="306171" cy="3973973"/>
            <a:chOff x="4766684" y="1600220"/>
            <a:chExt cx="306171" cy="3973973"/>
          </a:xfrm>
        </p:grpSpPr>
        <p:cxnSp>
          <p:nvCxnSpPr>
            <p:cNvPr id="5" name="Straight Connector 4"/>
            <p:cNvCxnSpPr/>
            <p:nvPr/>
          </p:nvCxnSpPr>
          <p:spPr>
            <a:xfrm>
              <a:off x="4919769" y="1600220"/>
              <a:ext cx="0" cy="3973973"/>
            </a:xfrm>
            <a:prstGeom prst="line">
              <a:avLst/>
            </a:prstGeom>
            <a:ln w="19050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 5"/>
            <p:cNvGrpSpPr/>
            <p:nvPr/>
          </p:nvGrpSpPr>
          <p:grpSpPr>
            <a:xfrm>
              <a:off x="4766684" y="3433751"/>
              <a:ext cx="306171" cy="306910"/>
              <a:chOff x="5942914" y="3833745"/>
              <a:chExt cx="306171" cy="306910"/>
            </a:xfrm>
          </p:grpSpPr>
          <p:sp>
            <p:nvSpPr>
              <p:cNvPr id="7" name="Freeform 94"/>
              <p:cNvSpPr>
                <a:spLocks/>
              </p:cNvSpPr>
              <p:nvPr/>
            </p:nvSpPr>
            <p:spPr bwMode="gray">
              <a:xfrm>
                <a:off x="594291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solidFill>
                  <a:srgbClr val="808080"/>
                </a:solidFill>
              </a:ln>
              <a:extLst/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  <p:sp>
            <p:nvSpPr>
              <p:cNvPr id="8" name="Freeform 95"/>
              <p:cNvSpPr>
                <a:spLocks/>
              </p:cNvSpPr>
              <p:nvPr/>
            </p:nvSpPr>
            <p:spPr bwMode="gray">
              <a:xfrm>
                <a:off x="605934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</p:grpSp>
      </p:grpSp>
      <p:sp>
        <p:nvSpPr>
          <p:cNvPr id="9" name="TextColumnContent"/>
          <p:cNvSpPr>
            <a:spLocks noChangeArrowheads="1"/>
          </p:cNvSpPr>
          <p:nvPr/>
        </p:nvSpPr>
        <p:spPr bwMode="gray">
          <a:xfrm>
            <a:off x="5403278" y="2152477"/>
            <a:ext cx="6217853" cy="351677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tIns="91440" rIns="0" bIns="91440" anchor="ctr" anchorCtr="0"/>
          <a:lstStyle/>
          <a:p>
            <a:pPr marL="288925" lvl="1" indent="-174625">
              <a:spcBef>
                <a:spcPts val="3600"/>
              </a:spcBef>
              <a:buClr>
                <a:schemeClr val="accent5">
                  <a:lumMod val="25000"/>
                </a:schemeClr>
              </a:buClr>
              <a:buSzPct val="100000"/>
              <a:buFontTx/>
              <a:buChar char="•"/>
            </a:pPr>
            <a:r>
              <a:rPr lang="en-CA" dirty="0" smtClean="0">
                <a:solidFill>
                  <a:srgbClr val="4D4D4D"/>
                </a:solidFill>
                <a:latin typeface="Arial" panose="020B0604020202020204" pitchFamily="34" charset="0"/>
              </a:rPr>
              <a:t>Establish a new way to collaborate on leading-edge tech</a:t>
            </a:r>
          </a:p>
          <a:p>
            <a:pPr marL="288925" lvl="1" indent="-174625">
              <a:spcBef>
                <a:spcPts val="3600"/>
              </a:spcBef>
              <a:buClr>
                <a:schemeClr val="accent5">
                  <a:lumMod val="25000"/>
                </a:schemeClr>
              </a:buClr>
              <a:buSzPct val="100000"/>
              <a:buFontTx/>
              <a:buChar char="•"/>
            </a:pPr>
            <a:r>
              <a:rPr lang="en-CA" dirty="0" smtClean="0">
                <a:solidFill>
                  <a:srgbClr val="4D4D4D"/>
                </a:solidFill>
                <a:latin typeface="Arial" panose="020B0604020202020204" pitchFamily="34" charset="0"/>
              </a:rPr>
              <a:t>Build the next-generation supply chain</a:t>
            </a:r>
          </a:p>
          <a:p>
            <a:pPr marL="288925" lvl="1" indent="-174625">
              <a:spcBef>
                <a:spcPts val="3600"/>
              </a:spcBef>
              <a:buClr>
                <a:schemeClr val="accent5">
                  <a:lumMod val="25000"/>
                </a:schemeClr>
              </a:buClr>
              <a:buSzPct val="100000"/>
              <a:buFontTx/>
              <a:buChar char="•"/>
            </a:pPr>
            <a:r>
              <a:rPr lang="en-CA" dirty="0" smtClean="0">
                <a:solidFill>
                  <a:srgbClr val="4D4D4D"/>
                </a:solidFill>
                <a:latin typeface="Arial" panose="020B0604020202020204" pitchFamily="34" charset="0"/>
              </a:rPr>
              <a:t>Deliver competitive advantage across industrial sectors</a:t>
            </a:r>
          </a:p>
          <a:p>
            <a:pPr marL="288925" lvl="1" indent="-174625">
              <a:spcBef>
                <a:spcPts val="3600"/>
              </a:spcBef>
              <a:buClr>
                <a:schemeClr val="accent5">
                  <a:lumMod val="25000"/>
                </a:schemeClr>
              </a:buClr>
              <a:buSzPct val="100000"/>
              <a:buFontTx/>
              <a:buChar char="•"/>
            </a:pPr>
            <a:r>
              <a:rPr lang="en-CA" dirty="0" smtClean="0">
                <a:solidFill>
                  <a:srgbClr val="4D4D4D"/>
                </a:solidFill>
                <a:latin typeface="Arial" panose="020B0604020202020204" pitchFamily="34" charset="0"/>
              </a:rPr>
              <a:t>Grow the world’s best applied AI services providers </a:t>
            </a:r>
          </a:p>
          <a:p>
            <a:pPr marL="288925" lvl="1" indent="-174625">
              <a:spcBef>
                <a:spcPts val="3600"/>
              </a:spcBef>
              <a:buClr>
                <a:schemeClr val="accent5">
                  <a:lumMod val="25000"/>
                </a:schemeClr>
              </a:buClr>
              <a:buSzPct val="100000"/>
              <a:buFontTx/>
              <a:buChar char="•"/>
            </a:pPr>
            <a:r>
              <a:rPr lang="en-CA" dirty="0" smtClean="0">
                <a:solidFill>
                  <a:srgbClr val="4D4D4D"/>
                </a:solidFill>
                <a:latin typeface="Arial" panose="020B0604020202020204" pitchFamily="34" charset="0"/>
              </a:rPr>
              <a:t>Boost the talent pool of today and tomorrow</a:t>
            </a:r>
          </a:p>
        </p:txBody>
      </p:sp>
    </p:spTree>
    <p:extLst>
      <p:ext uri="{BB962C8B-B14F-4D97-AF65-F5344CB8AC3E}">
        <p14:creationId xmlns:p14="http://schemas.microsoft.com/office/powerpoint/2010/main" val="843619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782" y="264015"/>
            <a:ext cx="8690400" cy="831600"/>
          </a:xfrm>
        </p:spPr>
        <p:txBody>
          <a:bodyPr/>
          <a:lstStyle/>
          <a:p>
            <a:r>
              <a:rPr lang="en-US" dirty="0" smtClean="0"/>
              <a:t>118 members </a:t>
            </a:r>
            <a:r>
              <a:rPr lang="en-US" dirty="0"/>
              <a:t>to date incl. </a:t>
            </a:r>
            <a:r>
              <a:rPr lang="en-US" dirty="0" smtClean="0"/>
              <a:t>80 </a:t>
            </a:r>
            <a:r>
              <a:rPr lang="en-US" dirty="0"/>
              <a:t>industrial </a:t>
            </a:r>
            <a:r>
              <a:rPr lang="en-US" dirty="0" smtClean="0"/>
              <a:t>partners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4625411" y="4937985"/>
            <a:ext cx="5109669" cy="1368886"/>
          </a:xfrm>
          <a:prstGeom prst="rect">
            <a:avLst/>
          </a:prstGeom>
          <a:noFill/>
          <a:ln w="11430" cap="flat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</a:extLst>
        </p:spPr>
        <p:txBody>
          <a:bodyPr lIns="0" tIns="0" rIns="0" bIns="0" rtlCol="0" anchor="ctr" anchorCtr="0"/>
          <a:lstStyle/>
          <a:p>
            <a:pPr>
              <a:defRPr/>
            </a:pPr>
            <a:endParaRPr lang="en-US" sz="1301" b="1" kern="0" dirty="0">
              <a:solidFill>
                <a:srgbClr val="575757"/>
              </a:solidFill>
              <a:latin typeface="Trebuchet MS"/>
              <a:cs typeface="Arial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2792970" y="960147"/>
            <a:ext cx="6942110" cy="167430"/>
            <a:chOff x="308503" y="2"/>
            <a:chExt cx="7463897" cy="246221"/>
          </a:xfrm>
        </p:grpSpPr>
        <p:cxnSp>
          <p:nvCxnSpPr>
            <p:cNvPr id="158" name="Straight Arrow Connector 157"/>
            <p:cNvCxnSpPr/>
            <p:nvPr/>
          </p:nvCxnSpPr>
          <p:spPr>
            <a:xfrm>
              <a:off x="308503" y="123113"/>
              <a:ext cx="7463897" cy="0"/>
            </a:xfrm>
            <a:prstGeom prst="straightConnector1">
              <a:avLst/>
            </a:prstGeom>
            <a:noFill/>
            <a:ln w="5715" cap="flat" cmpd="sng" algn="ctr">
              <a:solidFill>
                <a:srgbClr val="E71C57"/>
              </a:solidFill>
              <a:prstDash val="solid"/>
              <a:round/>
              <a:headEnd type="oval" w="med" len="med"/>
              <a:tailEnd type="oval" w="med" len="med"/>
            </a:ln>
            <a:effectLst/>
          </p:spPr>
        </p:cxnSp>
        <p:sp>
          <p:nvSpPr>
            <p:cNvPr id="159" name="TextBox 158"/>
            <p:cNvSpPr txBox="1"/>
            <p:nvPr/>
          </p:nvSpPr>
          <p:spPr>
            <a:xfrm>
              <a:off x="3362059" y="2"/>
              <a:ext cx="1356784" cy="246221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>
                <a:defRPr/>
              </a:pPr>
              <a:r>
                <a:rPr lang="en-US" sz="1088" b="1" kern="0" dirty="0">
                  <a:solidFill>
                    <a:srgbClr val="E71C57"/>
                  </a:solidFill>
                  <a:latin typeface="Trebuchet MS"/>
                  <a:cs typeface="Arial" pitchFamily="34" charset="0"/>
                </a:rPr>
                <a:t>Verticals in focus</a:t>
              </a:r>
            </a:p>
          </p:txBody>
        </p:sp>
      </p:grpSp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6231" y="5246505"/>
            <a:ext cx="543308" cy="169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6199484" y="5046657"/>
            <a:ext cx="1174282" cy="1046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US" sz="680" b="1" kern="0" dirty="0">
                <a:solidFill>
                  <a:srgbClr val="575757"/>
                </a:solidFill>
                <a:latin typeface="Trebuchet MS"/>
                <a:cs typeface="Arial" pitchFamily="34" charset="0"/>
              </a:rPr>
              <a:t>Professional association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828340" y="5050789"/>
            <a:ext cx="444896" cy="1046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000" b="1" u="sng">
                <a:solidFill>
                  <a:srgbClr val="575757"/>
                </a:solidFill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z="680" u="none" kern="0" dirty="0">
                <a:latin typeface="Trebuchet MS"/>
              </a:rPr>
              <a:t>Incubator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708886" y="5046657"/>
            <a:ext cx="240899" cy="1046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defRPr/>
            </a:pPr>
            <a:r>
              <a:rPr lang="en-US" sz="680" b="1" kern="0" dirty="0">
                <a:solidFill>
                  <a:srgbClr val="575757"/>
                </a:solidFill>
                <a:latin typeface="Trebuchet MS"/>
                <a:cs typeface="Arial" pitchFamily="34" charset="0"/>
              </a:rPr>
              <a:t>Funds</a:t>
            </a:r>
          </a:p>
        </p:txBody>
      </p:sp>
      <p:pic>
        <p:nvPicPr>
          <p:cNvPr id="11" name="Picture 1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7014" y="5127194"/>
            <a:ext cx="558959" cy="332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7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5223" y="5591894"/>
            <a:ext cx="417844" cy="131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2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996127" y="5476323"/>
            <a:ext cx="368412" cy="158557"/>
          </a:xfrm>
          <a:prstGeom prst="rect">
            <a:avLst/>
          </a:prstGeom>
          <a:noFill/>
        </p:spPr>
      </p:pic>
      <p:pic>
        <p:nvPicPr>
          <p:cNvPr id="14" name="Picture 12"/>
          <p:cNvPicPr>
            <a:picLocks noChangeAspect="1" noChangeArrowheads="1"/>
          </p:cNvPicPr>
          <p:nvPr/>
        </p:nvPicPr>
        <p:blipFill>
          <a:blip r:embed="rId7" cstate="print"/>
          <a:stretch>
            <a:fillRect/>
          </a:stretch>
        </p:blipFill>
        <p:spPr bwMode="auto">
          <a:xfrm>
            <a:off x="4864671" y="5460332"/>
            <a:ext cx="310896" cy="80043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211283" y="5978831"/>
            <a:ext cx="243665" cy="28213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280892" y="5226664"/>
            <a:ext cx="467187" cy="158557"/>
          </a:xfrm>
          <a:prstGeom prst="rect">
            <a:avLst/>
          </a:prstGeom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7549865" y="5238122"/>
            <a:ext cx="676962" cy="146562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10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9785" y="5730173"/>
            <a:ext cx="609951" cy="180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3" t="7406" r="1186" b="8047"/>
          <a:stretch/>
        </p:blipFill>
        <p:spPr bwMode="auto">
          <a:xfrm>
            <a:off x="4730072" y="6028094"/>
            <a:ext cx="469067" cy="183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8998156" y="5049821"/>
            <a:ext cx="630044" cy="10464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lang="en-US" sz="680" b="1" kern="0" dirty="0">
                <a:solidFill>
                  <a:srgbClr val="575757"/>
                </a:solidFill>
                <a:latin typeface="Trebuchet MS"/>
              </a:rPr>
              <a:t>Global partners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373653" y="5036608"/>
            <a:ext cx="499240" cy="10464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lang="en-US" sz="680" b="1" kern="0" dirty="0">
                <a:solidFill>
                  <a:srgbClr val="575757"/>
                </a:solidFill>
                <a:latin typeface="Trebuchet MS"/>
              </a:rPr>
              <a:t>Federal org.</a:t>
            </a:r>
          </a:p>
        </p:txBody>
      </p:sp>
      <p:pic>
        <p:nvPicPr>
          <p:cNvPr id="22" name="Picture 33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4411" y="5608638"/>
            <a:ext cx="477537" cy="137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tangle 22"/>
          <p:cNvSpPr/>
          <p:nvPr/>
        </p:nvSpPr>
        <p:spPr>
          <a:xfrm>
            <a:off x="2755347" y="4937986"/>
            <a:ext cx="1712888" cy="1368885"/>
          </a:xfrm>
          <a:prstGeom prst="rect">
            <a:avLst/>
          </a:prstGeom>
          <a:noFill/>
          <a:ln w="11430" cap="flat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</a:extLst>
        </p:spPr>
        <p:txBody>
          <a:bodyPr lIns="0" tIns="0" rIns="0" bIns="0" rtlCol="0" anchor="ctr" anchorCtr="0"/>
          <a:lstStyle/>
          <a:p>
            <a:pPr>
              <a:defRPr/>
            </a:pPr>
            <a:endParaRPr lang="en-US" sz="1301" b="1" kern="0" dirty="0">
              <a:solidFill>
                <a:srgbClr val="575757"/>
              </a:solidFill>
              <a:latin typeface="Trebuchet MS"/>
              <a:cs typeface="Arial" pitchFamily="34" charset="0"/>
            </a:endParaRPr>
          </a:p>
        </p:txBody>
      </p:sp>
      <p:pic>
        <p:nvPicPr>
          <p:cNvPr id="24" name="Picture 21"/>
          <p:cNvPicPr>
            <a:picLocks noChangeAspect="1" noChangeArrowheads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6402" y="5022242"/>
            <a:ext cx="773307" cy="2340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"/>
          <p:cNvPicPr>
            <a:picLocks noChangeAspect="1" noChangeArrowheads="1"/>
          </p:cNvPicPr>
          <p:nvPr/>
        </p:nvPicPr>
        <p:blipFill rotWithShape="1"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16" t="9577" r="14301" b="20128"/>
          <a:stretch/>
        </p:blipFill>
        <p:spPr bwMode="auto">
          <a:xfrm>
            <a:off x="2800337" y="4986455"/>
            <a:ext cx="853517" cy="336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9"/>
          <p:cNvPicPr>
            <a:picLocks noChangeAspect="1" noChangeArrowheads="1"/>
          </p:cNvPicPr>
          <p:nvPr/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7251" t="16597" r="7282" b="16891"/>
          <a:stretch>
            <a:fillRect/>
          </a:stretch>
        </p:blipFill>
        <p:spPr bwMode="auto">
          <a:xfrm>
            <a:off x="2882892" y="5368307"/>
            <a:ext cx="524518" cy="189827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Picture 59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4456" y="5379559"/>
            <a:ext cx="202274" cy="202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733016" y="5416495"/>
            <a:ext cx="650628" cy="89772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 noChangeArrowheads="1"/>
          </p:cNvPicPr>
          <p:nvPr/>
        </p:nvPicPr>
        <p:blipFill>
          <a:blip r:embed="rId1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2962968" y="5709397"/>
            <a:ext cx="457639" cy="191279"/>
          </a:xfrm>
          <a:prstGeom prst="rect">
            <a:avLst/>
          </a:prstGeom>
          <a:noFill/>
          <a:ln>
            <a:noFill/>
          </a:ln>
        </p:spPr>
      </p:pic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5214" y="6023678"/>
            <a:ext cx="696407" cy="166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6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9814" y="6045044"/>
            <a:ext cx="580506" cy="136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4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1187" y="5729179"/>
            <a:ext cx="596921" cy="140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9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5940" y="5137309"/>
            <a:ext cx="414476" cy="185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12"/>
          <p:cNvPicPr>
            <a:picLocks noChangeAspect="1" noChangeArrowheads="1"/>
          </p:cNvPicPr>
          <p:nvPr/>
        </p:nvPicPr>
        <p:blipFill>
          <a:blip r:embed="rId2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3839" y="5206421"/>
            <a:ext cx="356235" cy="175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18"/>
          <p:cNvPicPr>
            <a:picLocks noChangeAspect="1" noChangeArrowheads="1"/>
          </p:cNvPicPr>
          <p:nvPr/>
        </p:nvPicPr>
        <p:blipFill>
          <a:blip r:embed="rId2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5469" y="5478380"/>
            <a:ext cx="674992" cy="160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Image 22"/>
          <p:cNvPicPr>
            <a:picLocks noChangeAspect="1" noChangeArrowheads="1"/>
          </p:cNvPicPr>
          <p:nvPr/>
        </p:nvPicPr>
        <p:blipFill rotWithShape="1">
          <a:blip r:embed="rId2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89" t="9835" r="7560" b="12254"/>
          <a:stretch/>
        </p:blipFill>
        <p:spPr bwMode="auto">
          <a:xfrm>
            <a:off x="6263963" y="5709397"/>
            <a:ext cx="491338" cy="1941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Rectangle 37"/>
          <p:cNvSpPr/>
          <p:nvPr/>
        </p:nvSpPr>
        <p:spPr>
          <a:xfrm>
            <a:off x="2762810" y="2641495"/>
            <a:ext cx="6972270" cy="777059"/>
          </a:xfrm>
          <a:prstGeom prst="rect">
            <a:avLst/>
          </a:prstGeom>
          <a:noFill/>
          <a:ln w="11430" cap="flat" cmpd="sng" algn="ctr">
            <a:solidFill>
              <a:srgbClr val="30C1D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BEFF5"/>
                </a:solidFill>
              </a14:hiddenFill>
            </a:ext>
          </a:extLst>
        </p:spPr>
        <p:txBody>
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177B57"/>
              </a:buClr>
              <a:defRPr/>
            </a:pPr>
            <a:r>
              <a:rPr lang="en-US" sz="816" kern="0" dirty="0">
                <a:solidFill>
                  <a:srgbClr val="229CB0"/>
                </a:solidFill>
                <a:latin typeface="Trebuchet MS"/>
                <a:cs typeface="Arial" pitchFamily="34" charset="0"/>
              </a:rPr>
              <a:t>Transport,</a:t>
            </a:r>
            <a:br>
              <a:rPr lang="en-US" sz="816" kern="0" dirty="0">
                <a:solidFill>
                  <a:srgbClr val="229CB0"/>
                </a:solidFill>
                <a:latin typeface="Trebuchet MS"/>
                <a:cs typeface="Arial" pitchFamily="34" charset="0"/>
              </a:rPr>
            </a:br>
            <a:r>
              <a:rPr lang="en-US" sz="816" kern="0" dirty="0">
                <a:solidFill>
                  <a:srgbClr val="229CB0"/>
                </a:solidFill>
                <a:latin typeface="Trebuchet MS"/>
                <a:cs typeface="Arial" pitchFamily="34" charset="0"/>
              </a:rPr>
              <a:t>logistics and</a:t>
            </a:r>
            <a:br>
              <a:rPr lang="en-US" sz="816" kern="0" dirty="0">
                <a:solidFill>
                  <a:srgbClr val="229CB0"/>
                </a:solidFill>
                <a:latin typeface="Trebuchet MS"/>
                <a:cs typeface="Arial" pitchFamily="34" charset="0"/>
              </a:rPr>
            </a:br>
            <a:r>
              <a:rPr lang="en-US" sz="816" kern="0" dirty="0">
                <a:solidFill>
                  <a:srgbClr val="229CB0"/>
                </a:solidFill>
                <a:latin typeface="Trebuchet MS"/>
                <a:cs typeface="Arial" pitchFamily="34" charset="0"/>
              </a:rPr>
              <a:t>SC specialists</a:t>
            </a:r>
          </a:p>
        </p:txBody>
      </p:sp>
      <p:pic>
        <p:nvPicPr>
          <p:cNvPr id="39" name="Picture 28"/>
          <p:cNvPicPr>
            <a:picLocks noChangeAspect="1" noChangeArrowheads="1"/>
          </p:cNvPicPr>
          <p:nvPr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213" b="21058"/>
          <a:stretch/>
        </p:blipFill>
        <p:spPr bwMode="auto">
          <a:xfrm>
            <a:off x="6584515" y="3094932"/>
            <a:ext cx="387225" cy="235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42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4235" y="2804625"/>
            <a:ext cx="909850" cy="139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7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0613" y="3100229"/>
            <a:ext cx="350538" cy="134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33"/>
          <p:cNvPicPr>
            <a:picLocks noChangeAspect="1" noChangeArrowheads="1"/>
          </p:cNvPicPr>
          <p:nvPr/>
        </p:nvPicPr>
        <p:blipFill>
          <a:blip r:embed="rId30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674" y="2806692"/>
            <a:ext cx="642212" cy="1636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35"/>
          <p:cNvPicPr>
            <a:picLocks noChangeAspect="1" noChangeArrowheads="1"/>
          </p:cNvPicPr>
          <p:nvPr/>
        </p:nvPicPr>
        <p:blipFill>
          <a:blip r:embed="rId3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7578" y="3099910"/>
            <a:ext cx="541326" cy="120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78"/>
          <p:cNvPicPr>
            <a:picLocks noChangeAspect="1" noChangeArrowheads="1"/>
          </p:cNvPicPr>
          <p:nvPr/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7290026" y="2800771"/>
            <a:ext cx="456954" cy="160006"/>
          </a:xfrm>
          <a:prstGeom prst="rect">
            <a:avLst/>
          </a:prstGeom>
          <a:noFill/>
        </p:spPr>
      </p:pic>
      <p:pic>
        <p:nvPicPr>
          <p:cNvPr id="46" name="Picture 2"/>
          <p:cNvPicPr>
            <a:picLocks noChangeAspect="1" noChangeArrowheads="1"/>
          </p:cNvPicPr>
          <p:nvPr/>
        </p:nvPicPr>
        <p:blipFill>
          <a:blip r:embed="rId33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</a:blip>
          <a:srcRect l="8703" t="11868" r="8977" b="10644"/>
          <a:stretch>
            <a:fillRect/>
          </a:stretch>
        </p:blipFill>
        <p:spPr bwMode="auto">
          <a:xfrm>
            <a:off x="6169711" y="4169006"/>
            <a:ext cx="369953" cy="185069"/>
          </a:xfrm>
          <a:prstGeom prst="rect">
            <a:avLst/>
          </a:prstGeom>
          <a:noFill/>
          <a:ln>
            <a:noFill/>
          </a:ln>
        </p:spPr>
      </p:pic>
      <p:pic>
        <p:nvPicPr>
          <p:cNvPr id="47" name="Picture 8"/>
          <p:cNvPicPr>
            <a:picLocks noChangeAspect="1" noChangeArrowheads="1"/>
          </p:cNvPicPr>
          <p:nvPr/>
        </p:nvPicPr>
        <p:blipFill>
          <a:blip r:embed="rId3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5933688" y="3055299"/>
            <a:ext cx="432016" cy="208559"/>
          </a:xfrm>
          <a:prstGeom prst="rect">
            <a:avLst/>
          </a:prstGeom>
          <a:noFill/>
          <a:ln>
            <a:noFill/>
          </a:ln>
        </p:spPr>
      </p:pic>
      <p:pic>
        <p:nvPicPr>
          <p:cNvPr id="48" name="Picture 7"/>
          <p:cNvPicPr>
            <a:picLocks noChangeAspect="1" noChangeArrowheads="1"/>
          </p:cNvPicPr>
          <p:nvPr/>
        </p:nvPicPr>
        <p:blipFill>
          <a:blip r:embed="rId35" cstate="print"/>
          <a:srcRect l="6018" t="17495" r="5967" b="17386"/>
          <a:stretch>
            <a:fillRect/>
          </a:stretch>
        </p:blipFill>
        <p:spPr bwMode="auto">
          <a:xfrm>
            <a:off x="8754580" y="2845717"/>
            <a:ext cx="456058" cy="115060"/>
          </a:xfrm>
          <a:prstGeom prst="rect">
            <a:avLst/>
          </a:prstGeom>
          <a:noFill/>
          <a:ln>
            <a:noFill/>
          </a:ln>
        </p:spPr>
      </p:pic>
      <p:pic>
        <p:nvPicPr>
          <p:cNvPr id="49" name="Picture 39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1762" y="2839482"/>
            <a:ext cx="496044" cy="124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42"/>
          <p:cNvPicPr>
            <a:picLocks noChangeAspect="1" noChangeArrowheads="1"/>
          </p:cNvPicPr>
          <p:nvPr/>
        </p:nvPicPr>
        <p:blipFill rotWithShape="1"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56" t="16918" r="11769" b="24440"/>
          <a:stretch/>
        </p:blipFill>
        <p:spPr bwMode="auto">
          <a:xfrm>
            <a:off x="8149482" y="3120382"/>
            <a:ext cx="383740" cy="146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3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0901" y="2712443"/>
            <a:ext cx="511954" cy="272599"/>
          </a:xfrm>
          <a:prstGeom prst="rect">
            <a:avLst/>
          </a:prstGeom>
          <a:noFill/>
          <a:ln>
            <a:noFill/>
          </a:ln>
        </p:spPr>
      </p:pic>
      <p:pic>
        <p:nvPicPr>
          <p:cNvPr id="52" name="Picture 49"/>
          <p:cNvPicPr>
            <a:picLocks noChangeAspect="1" noChangeArrowheads="1"/>
          </p:cNvPicPr>
          <p:nvPr/>
        </p:nvPicPr>
        <p:blipFill rotWithShape="1">
          <a:blip r:embed="rId3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20" b="26441"/>
          <a:stretch/>
        </p:blipFill>
        <p:spPr bwMode="auto">
          <a:xfrm>
            <a:off x="7069897" y="3060483"/>
            <a:ext cx="468047" cy="256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8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1108" y="3107230"/>
            <a:ext cx="446572" cy="154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12"/>
          <p:cNvPicPr>
            <a:picLocks noChangeAspect="1" noChangeArrowheads="1"/>
          </p:cNvPicPr>
          <p:nvPr/>
        </p:nvPicPr>
        <p:blipFill rotWithShape="1">
          <a:blip r:embed="rId41" cstate="print">
            <a:clrChange>
              <a:clrFrom>
                <a:srgbClr val="FFFEFF"/>
              </a:clrFrom>
              <a:clrTo>
                <a:srgbClr val="FFFE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19" b="27698"/>
          <a:stretch/>
        </p:blipFill>
        <p:spPr bwMode="auto">
          <a:xfrm>
            <a:off x="8707085" y="3103579"/>
            <a:ext cx="663245" cy="175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47"/>
          <p:cNvPicPr>
            <a:picLocks noChangeAspect="1" noChangeArrowheads="1"/>
          </p:cNvPicPr>
          <p:nvPr/>
        </p:nvPicPr>
        <p:blipFill rotWithShape="1">
          <a:blip r:embed="rId4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475" b="24070"/>
          <a:stretch/>
        </p:blipFill>
        <p:spPr bwMode="auto">
          <a:xfrm>
            <a:off x="3423818" y="2751573"/>
            <a:ext cx="679597" cy="308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Rectangle 55"/>
          <p:cNvSpPr/>
          <p:nvPr/>
        </p:nvSpPr>
        <p:spPr>
          <a:xfrm>
            <a:off x="2762810" y="3503060"/>
            <a:ext cx="6972270" cy="1158651"/>
          </a:xfrm>
          <a:prstGeom prst="rect">
            <a:avLst/>
          </a:prstGeom>
          <a:noFill/>
          <a:ln w="11430" cap="flat" cmpd="sng" algn="ctr">
            <a:solidFill>
              <a:srgbClr val="30C1D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BEFF5"/>
                </a:solidFill>
              </a14:hiddenFill>
            </a:ext>
          </a:extLst>
        </p:spPr>
        <p:txBody>
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177B57"/>
              </a:buClr>
              <a:defRPr/>
            </a:pPr>
            <a:r>
              <a:rPr lang="en-US" sz="816" kern="0" dirty="0">
                <a:solidFill>
                  <a:srgbClr val="229CB0"/>
                </a:solidFill>
                <a:latin typeface="Trebuchet MS"/>
                <a:cs typeface="Arial" pitchFamily="34" charset="0"/>
              </a:rPr>
              <a:t>Digital</a:t>
            </a:r>
          </a:p>
          <a:p>
            <a:pPr>
              <a:buClr>
                <a:srgbClr val="177B57"/>
              </a:buClr>
              <a:defRPr/>
            </a:pPr>
            <a:r>
              <a:rPr lang="en-US" sz="816" kern="0" dirty="0">
                <a:solidFill>
                  <a:srgbClr val="229CB0"/>
                </a:solidFill>
                <a:latin typeface="Trebuchet MS"/>
                <a:cs typeface="Arial" pitchFamily="34" charset="0"/>
              </a:rPr>
              <a:t>and AI</a:t>
            </a:r>
          </a:p>
        </p:txBody>
      </p:sp>
      <p:pic>
        <p:nvPicPr>
          <p:cNvPr id="57" name="Picture 52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4874" y="4042359"/>
            <a:ext cx="302714" cy="171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54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9638" y="3693287"/>
            <a:ext cx="310854" cy="145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56"/>
          <p:cNvPicPr>
            <a:picLocks noChangeAspect="1" noChangeArrowheads="1"/>
          </p:cNvPicPr>
          <p:nvPr/>
        </p:nvPicPr>
        <p:blipFill>
          <a:blip r:embed="rId4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0878" y="3896577"/>
            <a:ext cx="322824" cy="1921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60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0492" y="3513511"/>
            <a:ext cx="663562" cy="348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4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759172" y="4386585"/>
            <a:ext cx="568940" cy="125913"/>
          </a:xfrm>
          <a:prstGeom prst="rect">
            <a:avLst/>
          </a:prstGeom>
        </p:spPr>
      </p:pic>
      <p:pic>
        <p:nvPicPr>
          <p:cNvPr id="62" name="Picture 61"/>
          <p:cNvPicPr>
            <a:picLocks noChangeAspect="1"/>
          </p:cNvPicPr>
          <p:nvPr/>
        </p:nvPicPr>
        <p:blipFill>
          <a:blip r:embed="rId4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047817" y="4352953"/>
            <a:ext cx="475671" cy="198196"/>
          </a:xfrm>
          <a:prstGeom prst="rect">
            <a:avLst/>
          </a:prstGeom>
        </p:spPr>
      </p:pic>
      <p:pic>
        <p:nvPicPr>
          <p:cNvPr id="63" name="Picture 2"/>
          <p:cNvPicPr>
            <a:picLocks noChangeAspect="1" noChangeArrowheads="1"/>
          </p:cNvPicPr>
          <p:nvPr/>
        </p:nvPicPr>
        <p:blipFill>
          <a:blip r:embed="rId49" cstate="print"/>
          <a:srcRect t="9492" b="9824"/>
          <a:stretch>
            <a:fillRect/>
          </a:stretch>
        </p:blipFill>
        <p:spPr bwMode="auto">
          <a:xfrm>
            <a:off x="8410526" y="3645878"/>
            <a:ext cx="426231" cy="171950"/>
          </a:xfrm>
          <a:prstGeom prst="rect">
            <a:avLst/>
          </a:prstGeom>
          <a:noFill/>
        </p:spPr>
      </p:pic>
      <p:pic>
        <p:nvPicPr>
          <p:cNvPr id="64" name="Picture 50"/>
          <p:cNvPicPr>
            <a:picLocks noChangeAspect="1" noChangeArrowheads="1"/>
          </p:cNvPicPr>
          <p:nvPr/>
        </p:nvPicPr>
        <p:blipFill>
          <a:blip r:embed="rId5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6647" y="4009098"/>
            <a:ext cx="339899" cy="206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54"/>
          <p:cNvPicPr>
            <a:picLocks noChangeAspect="1" noChangeArrowheads="1"/>
          </p:cNvPicPr>
          <p:nvPr/>
        </p:nvPicPr>
        <p:blipFill>
          <a:blip r:embed="rId5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36667" r="3798" b="36334"/>
          <a:stretch>
            <a:fillRect/>
          </a:stretch>
        </p:blipFill>
        <p:spPr bwMode="auto">
          <a:xfrm>
            <a:off x="5162092" y="3934458"/>
            <a:ext cx="942128" cy="132204"/>
          </a:xfrm>
          <a:prstGeom prst="rect">
            <a:avLst/>
          </a:prstGeom>
          <a:noFill/>
        </p:spPr>
      </p:pic>
      <p:pic>
        <p:nvPicPr>
          <p:cNvPr id="66" name="Picture 86"/>
          <p:cNvPicPr>
            <a:picLocks noChangeAspect="1" noChangeArrowheads="1"/>
          </p:cNvPicPr>
          <p:nvPr/>
        </p:nvPicPr>
        <p:blipFill>
          <a:blip r:embed="rId52" cstate="print"/>
          <a:srcRect/>
          <a:stretch>
            <a:fillRect/>
          </a:stretch>
        </p:blipFill>
        <p:spPr bwMode="auto">
          <a:xfrm>
            <a:off x="5173839" y="4316888"/>
            <a:ext cx="509373" cy="197979"/>
          </a:xfrm>
          <a:prstGeom prst="rect">
            <a:avLst/>
          </a:prstGeom>
          <a:noFill/>
        </p:spPr>
      </p:pic>
      <p:pic>
        <p:nvPicPr>
          <p:cNvPr id="67" name="Picture 88"/>
          <p:cNvPicPr>
            <a:picLocks noChangeAspect="1" noChangeArrowheads="1"/>
          </p:cNvPicPr>
          <p:nvPr/>
        </p:nvPicPr>
        <p:blipFill>
          <a:blip r:embed="rId53" cstate="print"/>
          <a:srcRect/>
          <a:stretch>
            <a:fillRect/>
          </a:stretch>
        </p:blipFill>
        <p:spPr bwMode="auto">
          <a:xfrm>
            <a:off x="7891750" y="3687554"/>
            <a:ext cx="340043" cy="170021"/>
          </a:xfrm>
          <a:prstGeom prst="rect">
            <a:avLst/>
          </a:prstGeom>
          <a:noFill/>
        </p:spPr>
      </p:pic>
      <p:pic>
        <p:nvPicPr>
          <p:cNvPr id="68" name="Picture 4"/>
          <p:cNvPicPr>
            <a:picLocks noChangeAspect="1" noChangeArrowheads="1"/>
          </p:cNvPicPr>
          <p:nvPr/>
        </p:nvPicPr>
        <p:blipFill>
          <a:blip r:embed="rId5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9949" b="23139"/>
          <a:stretch>
            <a:fillRect/>
          </a:stretch>
        </p:blipFill>
        <p:spPr bwMode="auto">
          <a:xfrm>
            <a:off x="7544245" y="4367731"/>
            <a:ext cx="648348" cy="125552"/>
          </a:xfrm>
          <a:prstGeom prst="rect">
            <a:avLst/>
          </a:prstGeom>
          <a:noFill/>
          <a:ln>
            <a:noFill/>
          </a:ln>
        </p:spPr>
      </p:pic>
      <p:pic>
        <p:nvPicPr>
          <p:cNvPr id="70" name="Picture 55"/>
          <p:cNvPicPr>
            <a:picLocks noChangeAspect="1" noChangeArrowheads="1"/>
          </p:cNvPicPr>
          <p:nvPr/>
        </p:nvPicPr>
        <p:blipFill>
          <a:blip r:embed="rId5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6076" y="3672502"/>
            <a:ext cx="672698" cy="229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14"/>
          <p:cNvPicPr>
            <a:picLocks noChangeAspect="1" noChangeArrowheads="1"/>
          </p:cNvPicPr>
          <p:nvPr/>
        </p:nvPicPr>
        <p:blipFill>
          <a:blip r:embed="rId56" cstate="print"/>
          <a:srcRect l="10770" t="27510" r="4899" b="20533"/>
          <a:stretch>
            <a:fillRect/>
          </a:stretch>
        </p:blipFill>
        <p:spPr bwMode="auto">
          <a:xfrm>
            <a:off x="5274511" y="3682904"/>
            <a:ext cx="579769" cy="117366"/>
          </a:xfrm>
          <a:prstGeom prst="rect">
            <a:avLst/>
          </a:prstGeom>
          <a:noFill/>
          <a:ln>
            <a:noFill/>
          </a:ln>
        </p:spPr>
      </p:pic>
      <p:pic>
        <p:nvPicPr>
          <p:cNvPr id="72" name="Picture 13"/>
          <p:cNvPicPr>
            <a:picLocks noChangeAspect="1" noChangeArrowheads="1"/>
          </p:cNvPicPr>
          <p:nvPr/>
        </p:nvPicPr>
        <p:blipFill>
          <a:blip r:embed="rId5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8777093" y="3952907"/>
            <a:ext cx="297942" cy="297942"/>
          </a:xfrm>
          <a:prstGeom prst="rect">
            <a:avLst/>
          </a:prstGeom>
          <a:noFill/>
          <a:ln>
            <a:noFill/>
          </a:ln>
        </p:spPr>
      </p:pic>
      <p:pic>
        <p:nvPicPr>
          <p:cNvPr id="73" name="Picture 9"/>
          <p:cNvPicPr>
            <a:picLocks noChangeAspect="1" noChangeArrowheads="1"/>
          </p:cNvPicPr>
          <p:nvPr/>
        </p:nvPicPr>
        <p:blipFill>
          <a:blip r:embed="rId58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9201" y="3971959"/>
            <a:ext cx="226695" cy="226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12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0031" y="4051101"/>
            <a:ext cx="640711" cy="157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2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5970" y="4171186"/>
            <a:ext cx="647700" cy="112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4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5555" y="3626456"/>
            <a:ext cx="647401" cy="231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12"/>
          <p:cNvPicPr>
            <a:picLocks noChangeAspect="1" noChangeArrowheads="1"/>
          </p:cNvPicPr>
          <p:nvPr/>
        </p:nvPicPr>
        <p:blipFill>
          <a:blip r:embed="rId6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2831" y="4268526"/>
            <a:ext cx="559545" cy="362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60"/>
          <p:cNvPicPr>
            <a:picLocks noChangeAspect="1" noChangeArrowheads="1"/>
          </p:cNvPicPr>
          <p:nvPr/>
        </p:nvPicPr>
        <p:blipFill rotWithShape="1">
          <a:blip r:embed="rId6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275" b="30787"/>
          <a:stretch/>
        </p:blipFill>
        <p:spPr bwMode="auto">
          <a:xfrm>
            <a:off x="8271219" y="4342382"/>
            <a:ext cx="397947" cy="162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58"/>
          <p:cNvPicPr>
            <a:picLocks noChangeAspect="1" noChangeArrowheads="1"/>
          </p:cNvPicPr>
          <p:nvPr/>
        </p:nvPicPr>
        <p:blipFill rotWithShape="1">
          <a:blip r:embed="rId6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57" b="13538"/>
          <a:stretch/>
        </p:blipFill>
        <p:spPr bwMode="auto">
          <a:xfrm>
            <a:off x="3568239" y="3868332"/>
            <a:ext cx="787603" cy="181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31"/>
          <p:cNvPicPr>
            <a:picLocks noChangeAspect="1" noChangeArrowheads="1"/>
          </p:cNvPicPr>
          <p:nvPr/>
        </p:nvPicPr>
        <p:blipFill rotWithShape="1">
          <a:blip r:embed="rId6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35" b="31900"/>
          <a:stretch/>
        </p:blipFill>
        <p:spPr bwMode="auto">
          <a:xfrm>
            <a:off x="3610143" y="4104171"/>
            <a:ext cx="580987" cy="204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54"/>
          <p:cNvPicPr>
            <a:picLocks noChangeAspect="1" noChangeArrowheads="1"/>
          </p:cNvPicPr>
          <p:nvPr/>
        </p:nvPicPr>
        <p:blipFill rotWithShape="1">
          <a:blip r:embed="rId6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410" b="19104"/>
          <a:stretch/>
        </p:blipFill>
        <p:spPr bwMode="auto">
          <a:xfrm>
            <a:off x="4217042" y="3580016"/>
            <a:ext cx="983760" cy="292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52"/>
          <p:cNvPicPr>
            <a:picLocks noChangeAspect="1" noChangeArrowheads="1"/>
          </p:cNvPicPr>
          <p:nvPr/>
        </p:nvPicPr>
        <p:blipFill>
          <a:blip r:embed="rId6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7810" y="4139168"/>
            <a:ext cx="715312" cy="157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82"/>
          <p:cNvPicPr>
            <a:picLocks noChangeAspect="1"/>
          </p:cNvPicPr>
          <p:nvPr/>
        </p:nvPicPr>
        <p:blipFill>
          <a:blip r:embed="rId6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021940" y="5993732"/>
            <a:ext cx="582476" cy="147546"/>
          </a:xfrm>
          <a:prstGeom prst="rect">
            <a:avLst/>
          </a:prstGeom>
        </p:spPr>
      </p:pic>
      <p:grpSp>
        <p:nvGrpSpPr>
          <p:cNvPr id="84" name="Group 83"/>
          <p:cNvGrpSpPr/>
          <p:nvPr/>
        </p:nvGrpSpPr>
        <p:grpSpPr>
          <a:xfrm>
            <a:off x="2456921" y="2641494"/>
            <a:ext cx="167430" cy="2020216"/>
            <a:chOff x="100626" y="3180003"/>
            <a:chExt cx="246221" cy="3353290"/>
          </a:xfrm>
        </p:grpSpPr>
        <p:cxnSp>
          <p:nvCxnSpPr>
            <p:cNvPr id="156" name="Straight Arrow Connector 155"/>
            <p:cNvCxnSpPr/>
            <p:nvPr/>
          </p:nvCxnSpPr>
          <p:spPr>
            <a:xfrm flipH="1">
              <a:off x="223736" y="3180003"/>
              <a:ext cx="0" cy="3353290"/>
            </a:xfrm>
            <a:prstGeom prst="straightConnector1">
              <a:avLst/>
            </a:prstGeom>
            <a:noFill/>
            <a:ln w="5715" cap="flat" cmpd="sng" algn="ctr">
              <a:solidFill>
                <a:srgbClr val="30C1D7"/>
              </a:solidFill>
              <a:prstDash val="solid"/>
              <a:round/>
              <a:headEnd type="oval" w="med" len="med"/>
              <a:tailEnd type="oval" w="med" len="med"/>
            </a:ln>
            <a:effectLst/>
          </p:spPr>
        </p:cxnSp>
        <p:sp>
          <p:nvSpPr>
            <p:cNvPr id="157" name="TextBox 156"/>
            <p:cNvSpPr txBox="1"/>
            <p:nvPr/>
          </p:nvSpPr>
          <p:spPr>
            <a:xfrm rot="16200000">
              <a:off x="-457736" y="4733538"/>
              <a:ext cx="1362945" cy="246221"/>
            </a:xfrm>
            <a:prstGeom prst="rect">
              <a:avLst/>
            </a:prstGeom>
            <a:solidFill>
              <a:srgbClr val="FFFFFF"/>
            </a:solidFill>
          </p:spPr>
          <p:txBody>
            <a:bodyPr wrap="none" lIns="0" tIns="0" rIns="0" bIns="0" rtlCol="0">
              <a:noAutofit/>
            </a:bodyPr>
            <a:lstStyle/>
            <a:p>
              <a:pPr algn="ctr">
                <a:defRPr/>
              </a:pPr>
              <a:r>
                <a:rPr lang="en-US" sz="1088" b="1" kern="0" dirty="0">
                  <a:solidFill>
                    <a:srgbClr val="30C1D7"/>
                  </a:solidFill>
                  <a:latin typeface="Trebuchet MS"/>
                  <a:cs typeface="Arial" pitchFamily="34" charset="0"/>
                </a:rPr>
                <a:t>Horizontals</a:t>
              </a: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2755347" y="6346243"/>
            <a:ext cx="1700005" cy="167430"/>
            <a:chOff x="303388" y="9162295"/>
            <a:chExt cx="1667027" cy="246221"/>
          </a:xfrm>
        </p:grpSpPr>
        <p:cxnSp>
          <p:nvCxnSpPr>
            <p:cNvPr id="154" name="Straight Arrow Connector 153"/>
            <p:cNvCxnSpPr/>
            <p:nvPr/>
          </p:nvCxnSpPr>
          <p:spPr>
            <a:xfrm>
              <a:off x="303388" y="9285405"/>
              <a:ext cx="1667027" cy="0"/>
            </a:xfrm>
            <a:prstGeom prst="straightConnector1">
              <a:avLst/>
            </a:prstGeom>
            <a:noFill/>
            <a:ln w="5715" cap="flat" cmpd="sng" algn="ctr">
              <a:solidFill>
                <a:srgbClr val="29BA74"/>
              </a:solidFill>
              <a:prstDash val="solid"/>
              <a:round/>
              <a:headEnd type="oval" w="med" len="med"/>
              <a:tailEnd type="oval" w="med" len="med"/>
            </a:ln>
            <a:effectLst/>
          </p:spPr>
        </p:cxnSp>
        <p:sp>
          <p:nvSpPr>
            <p:cNvPr id="155" name="TextBox 154"/>
            <p:cNvSpPr txBox="1"/>
            <p:nvPr/>
          </p:nvSpPr>
          <p:spPr>
            <a:xfrm>
              <a:off x="778032" y="9162295"/>
              <a:ext cx="717737" cy="246221"/>
            </a:xfrm>
            <a:prstGeom prst="rect">
              <a:avLst/>
            </a:prstGeom>
            <a:solidFill>
              <a:srgbClr val="FFFFFF"/>
            </a:solidFill>
          </p:spPr>
          <p:txBody>
            <a:bodyPr wrap="none" lIns="0" tIns="0" rIns="0" bIns="0" rtlCol="0">
              <a:noAutofit/>
            </a:bodyPr>
            <a:lstStyle/>
            <a:p>
              <a:pPr algn="ctr">
                <a:defRPr/>
              </a:pPr>
              <a:r>
                <a:rPr lang="en-US" sz="1088" b="1" kern="0" dirty="0">
                  <a:solidFill>
                    <a:srgbClr val="29BA74"/>
                  </a:solidFill>
                  <a:latin typeface="Trebuchet MS"/>
                  <a:cs typeface="Arial" pitchFamily="34" charset="0"/>
                </a:rPr>
                <a:t>Academia</a:t>
              </a:r>
            </a:p>
          </p:txBody>
        </p:sp>
      </p:grpSp>
      <p:grpSp>
        <p:nvGrpSpPr>
          <p:cNvPr id="86" name="Group 85"/>
          <p:cNvGrpSpPr/>
          <p:nvPr/>
        </p:nvGrpSpPr>
        <p:grpSpPr>
          <a:xfrm>
            <a:off x="4625411" y="6346243"/>
            <a:ext cx="5109669" cy="167430"/>
            <a:chOff x="2068865" y="9162295"/>
            <a:chExt cx="5575972" cy="246221"/>
          </a:xfrm>
        </p:grpSpPr>
        <p:cxnSp>
          <p:nvCxnSpPr>
            <p:cNvPr id="152" name="Straight Arrow Connector 151"/>
            <p:cNvCxnSpPr/>
            <p:nvPr/>
          </p:nvCxnSpPr>
          <p:spPr>
            <a:xfrm>
              <a:off x="2068865" y="9285406"/>
              <a:ext cx="5575972" cy="0"/>
            </a:xfrm>
            <a:prstGeom prst="straightConnector1">
              <a:avLst/>
            </a:prstGeom>
            <a:noFill/>
            <a:ln w="5715" cap="flat" cmpd="sng" algn="ctr">
              <a:solidFill>
                <a:srgbClr val="29BA74"/>
              </a:solidFill>
              <a:prstDash val="solid"/>
              <a:round/>
              <a:headEnd type="oval" w="med" len="med"/>
              <a:tailEnd type="oval" w="med" len="med"/>
            </a:ln>
            <a:effectLst/>
          </p:spPr>
        </p:cxnSp>
        <p:sp>
          <p:nvSpPr>
            <p:cNvPr id="153" name="TextBox 152"/>
            <p:cNvSpPr txBox="1"/>
            <p:nvPr/>
          </p:nvSpPr>
          <p:spPr>
            <a:xfrm>
              <a:off x="4502584" y="9162295"/>
              <a:ext cx="708533" cy="246221"/>
            </a:xfrm>
            <a:prstGeom prst="rect">
              <a:avLst/>
            </a:prstGeom>
            <a:solidFill>
              <a:srgbClr val="FFFFFF"/>
            </a:solidFill>
          </p:spPr>
          <p:txBody>
            <a:bodyPr wrap="none" lIns="0" tIns="0" rIns="0" bIns="0" rtlCol="0">
              <a:noAutofit/>
            </a:bodyPr>
            <a:lstStyle>
              <a:defPPr>
                <a:defRPr lang="en-US"/>
              </a:defPPr>
              <a:lvl1pPr algn="ctr">
                <a:defRPr sz="1600">
                  <a:solidFill>
                    <a:srgbClr val="29BA74"/>
                  </a:solidFill>
                  <a:cs typeface="Arial" pitchFamily="34" charset="0"/>
                </a:defRPr>
              </a:lvl1pPr>
            </a:lstStyle>
            <a:p>
              <a:pPr>
                <a:defRPr/>
              </a:pPr>
              <a:r>
                <a:rPr lang="en-US" sz="1088" b="1" kern="0" dirty="0">
                  <a:latin typeface="Trebuchet MS"/>
                </a:rPr>
                <a:t>Enablers</a:t>
              </a:r>
            </a:p>
          </p:txBody>
        </p:sp>
      </p:grpSp>
      <p:sp>
        <p:nvSpPr>
          <p:cNvPr id="87" name="Rectangle 86"/>
          <p:cNvSpPr/>
          <p:nvPr/>
        </p:nvSpPr>
        <p:spPr>
          <a:xfrm>
            <a:off x="7929675" y="1247008"/>
            <a:ext cx="1801650" cy="730014"/>
          </a:xfrm>
          <a:prstGeom prst="rect">
            <a:avLst/>
          </a:prstGeom>
          <a:noFill/>
          <a:ln w="11430" cap="flat" cmpd="sng" algn="ctr">
            <a:solidFill>
              <a:srgbClr val="E71C5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9CBD8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4572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177B57"/>
              </a:buClr>
              <a:defRPr/>
            </a:pPr>
            <a:r>
              <a:rPr lang="en-US" sz="816" kern="0" dirty="0">
                <a:solidFill>
                  <a:srgbClr val="E71C57"/>
                </a:solidFill>
                <a:latin typeface="Trebuchet MS"/>
                <a:cs typeface="Arial" pitchFamily="34" charset="0"/>
              </a:rPr>
              <a:t>Infrastructure &amp; construction</a:t>
            </a:r>
          </a:p>
          <a:p>
            <a:pPr algn="ctr">
              <a:buClr>
                <a:srgbClr val="177B57"/>
              </a:buClr>
              <a:defRPr/>
            </a:pPr>
            <a:endParaRPr lang="en-US" sz="816" b="1" u="sng" kern="0" dirty="0">
              <a:solidFill>
                <a:srgbClr val="E71C57"/>
              </a:solidFill>
              <a:latin typeface="Trebuchet MS"/>
              <a:cs typeface="Arial" pitchFamily="34" charset="0"/>
            </a:endParaRPr>
          </a:p>
          <a:p>
            <a:pPr algn="ctr">
              <a:buClr>
                <a:srgbClr val="177B57"/>
              </a:buClr>
              <a:defRPr/>
            </a:pPr>
            <a:endParaRPr lang="en-US" sz="816" b="1" kern="0" dirty="0">
              <a:solidFill>
                <a:srgbClr val="E71C57"/>
              </a:solidFill>
              <a:latin typeface="Trebuchet MS"/>
              <a:cs typeface="Arial" pitchFamily="34" charset="0"/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2762810" y="1247008"/>
            <a:ext cx="2482360" cy="1298607"/>
          </a:xfrm>
          <a:prstGeom prst="rect">
            <a:avLst/>
          </a:prstGeom>
          <a:noFill/>
          <a:ln w="11430" cap="flat" cmpd="sng" algn="ctr">
            <a:solidFill>
              <a:srgbClr val="E71C5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9CBD8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4572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177B57"/>
              </a:buClr>
              <a:defRPr/>
            </a:pPr>
            <a:r>
              <a:rPr lang="en-US" sz="816" kern="0" dirty="0">
                <a:solidFill>
                  <a:srgbClr val="E71C57"/>
                </a:solidFill>
                <a:latin typeface="Trebuchet MS"/>
                <a:cs typeface="Arial" pitchFamily="34" charset="0"/>
              </a:rPr>
              <a:t>Consumer goods &amp; retail</a:t>
            </a:r>
            <a:endParaRPr lang="en-US" sz="816" u="sng" kern="0" dirty="0">
              <a:solidFill>
                <a:srgbClr val="E71C57"/>
              </a:solidFill>
              <a:latin typeface="Trebuchet MS"/>
              <a:cs typeface="Arial" pitchFamily="34" charset="0"/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5348259" y="1247008"/>
            <a:ext cx="2482360" cy="1298607"/>
          </a:xfrm>
          <a:prstGeom prst="rect">
            <a:avLst/>
          </a:prstGeom>
          <a:noFill/>
          <a:ln w="11430" cap="flat" cmpd="sng" algn="ctr">
            <a:solidFill>
              <a:srgbClr val="E71C5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9CBD8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4572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177B57"/>
              </a:buClr>
              <a:defRPr/>
            </a:pPr>
            <a:r>
              <a:rPr lang="en-US" sz="816" kern="0" dirty="0">
                <a:solidFill>
                  <a:srgbClr val="E71C57"/>
                </a:solidFill>
                <a:latin typeface="Trebuchet MS"/>
                <a:cs typeface="Arial" pitchFamily="34" charset="0"/>
              </a:rPr>
              <a:t>Industrial goods &amp; manufacturing</a:t>
            </a:r>
            <a:endParaRPr lang="en-US" sz="816" u="sng" kern="0" dirty="0">
              <a:solidFill>
                <a:srgbClr val="E71C57"/>
              </a:solidFill>
              <a:latin typeface="Trebuchet MS"/>
              <a:cs typeface="Arial" pitchFamily="34" charset="0"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7929675" y="2069077"/>
            <a:ext cx="1801651" cy="476538"/>
          </a:xfrm>
          <a:prstGeom prst="rect">
            <a:avLst/>
          </a:prstGeom>
          <a:noFill/>
          <a:ln w="11430" cap="flat" cmpd="sng" algn="ctr">
            <a:solidFill>
              <a:srgbClr val="E71C5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9CBD8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4572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177B57"/>
              </a:buClr>
              <a:defRPr/>
            </a:pPr>
            <a:r>
              <a:rPr lang="en-US" sz="816" kern="0" dirty="0">
                <a:solidFill>
                  <a:srgbClr val="E71C57"/>
                </a:solidFill>
                <a:latin typeface="Trebuchet MS"/>
                <a:cs typeface="Arial" pitchFamily="34" charset="0"/>
              </a:rPr>
              <a:t>Hospital logistics</a:t>
            </a:r>
          </a:p>
          <a:p>
            <a:pPr algn="ctr">
              <a:buClr>
                <a:srgbClr val="177B57"/>
              </a:buClr>
              <a:defRPr/>
            </a:pPr>
            <a:endParaRPr lang="en-US" sz="816" b="1" u="sng" kern="0" dirty="0">
              <a:solidFill>
                <a:srgbClr val="E71C57"/>
              </a:solidFill>
              <a:latin typeface="Trebuchet MS"/>
              <a:cs typeface="Arial" pitchFamily="34" charset="0"/>
            </a:endParaRPr>
          </a:p>
          <a:p>
            <a:pPr algn="ctr">
              <a:buClr>
                <a:srgbClr val="177B57"/>
              </a:buClr>
              <a:defRPr/>
            </a:pPr>
            <a:endParaRPr lang="en-US" sz="816" b="1" kern="0" dirty="0">
              <a:solidFill>
                <a:srgbClr val="E71C57"/>
              </a:solidFill>
              <a:latin typeface="Trebuchet MS"/>
              <a:cs typeface="Arial" pitchFamily="34" charset="0"/>
            </a:endParaRPr>
          </a:p>
        </p:txBody>
      </p:sp>
      <p:pic>
        <p:nvPicPr>
          <p:cNvPr id="91" name="Picture 22"/>
          <p:cNvPicPr>
            <a:picLocks noChangeAspect="1" noChangeArrowheads="1"/>
          </p:cNvPicPr>
          <p:nvPr/>
        </p:nvPicPr>
        <p:blipFill>
          <a:blip r:embed="rId6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119" t="15809" r="1777" b="15287"/>
          <a:stretch>
            <a:fillRect/>
          </a:stretch>
        </p:blipFill>
        <p:spPr bwMode="auto">
          <a:xfrm>
            <a:off x="8177506" y="1777794"/>
            <a:ext cx="603169" cy="1472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92" name="Picture 23"/>
          <p:cNvPicPr>
            <a:picLocks noChangeAspect="1" noChangeArrowheads="1"/>
          </p:cNvPicPr>
          <p:nvPr/>
        </p:nvPicPr>
        <p:blipFill>
          <a:blip r:embed="rId70" cstate="print">
            <a:clrChange>
              <a:clrFrom>
                <a:srgbClr val="FCFEFC"/>
              </a:clrFrom>
              <a:clrTo>
                <a:srgbClr val="FCFEFC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9038299" y="1445722"/>
            <a:ext cx="463778" cy="16572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93" name="Picture 20"/>
          <p:cNvPicPr>
            <a:picLocks noChangeAspect="1" noChangeArrowheads="1"/>
          </p:cNvPicPr>
          <p:nvPr/>
        </p:nvPicPr>
        <p:blipFill>
          <a:blip r:embed="rId7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30266" b="31019"/>
          <a:stretch>
            <a:fillRect/>
          </a:stretch>
        </p:blipFill>
        <p:spPr bwMode="auto">
          <a:xfrm>
            <a:off x="7250038" y="2094878"/>
            <a:ext cx="501137" cy="9735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94" name="Picture 7"/>
          <p:cNvPicPr>
            <a:picLocks noChangeAspect="1" noChangeArrowheads="1"/>
          </p:cNvPicPr>
          <p:nvPr/>
        </p:nvPicPr>
        <p:blipFill rotWithShape="1">
          <a:blip r:embed="rId7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613" b="28386"/>
          <a:stretch/>
        </p:blipFill>
        <p:spPr bwMode="auto">
          <a:xfrm>
            <a:off x="8897588" y="1700681"/>
            <a:ext cx="531114" cy="26555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95" name="Picture 16"/>
          <p:cNvPicPr>
            <a:picLocks noChangeAspect="1" noChangeArrowheads="1"/>
          </p:cNvPicPr>
          <p:nvPr/>
        </p:nvPicPr>
        <p:blipFill>
          <a:blip r:embed="rId7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8943" y="1450277"/>
            <a:ext cx="561449" cy="26453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96" name="Picture 20"/>
          <p:cNvPicPr>
            <a:picLocks noChangeAspect="1" noChangeArrowheads="1"/>
          </p:cNvPicPr>
          <p:nvPr/>
        </p:nvPicPr>
        <p:blipFill>
          <a:blip r:embed="rId74" cstate="print">
            <a:clrChange>
              <a:clrFrom>
                <a:srgbClr val="FEFFFE"/>
              </a:clrFrom>
              <a:clrTo>
                <a:srgbClr val="FEFFFE">
                  <a:alpha val="0"/>
                </a:srgbClr>
              </a:clrTo>
            </a:clrChange>
          </a:blip>
          <a:srcRect l="2176" t="16611" r="2405" b="15229"/>
          <a:stretch>
            <a:fillRect/>
          </a:stretch>
        </p:blipFill>
        <p:spPr bwMode="auto">
          <a:xfrm>
            <a:off x="5512408" y="1528982"/>
            <a:ext cx="838579" cy="11427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97" name="Picture 18"/>
          <p:cNvPicPr>
            <a:picLocks noChangeAspect="1" noChangeArrowheads="1"/>
          </p:cNvPicPr>
          <p:nvPr/>
        </p:nvPicPr>
        <p:blipFill>
          <a:blip r:embed="rId7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5527" y="1825599"/>
            <a:ext cx="489107" cy="23181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98" name="Picture 31"/>
          <p:cNvPicPr>
            <a:picLocks noChangeAspect="1" noChangeArrowheads="1"/>
          </p:cNvPicPr>
          <p:nvPr/>
        </p:nvPicPr>
        <p:blipFill>
          <a:blip r:embed="rId7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7169011" y="2368231"/>
            <a:ext cx="470599" cy="1054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99" name="Picture 6"/>
          <p:cNvPicPr>
            <a:picLocks noChangeAspect="1" noChangeArrowheads="1"/>
          </p:cNvPicPr>
          <p:nvPr/>
        </p:nvPicPr>
        <p:blipFill>
          <a:blip r:embed="rId77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6692373" y="1865824"/>
            <a:ext cx="482732" cy="15125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100" name="Picture 29"/>
          <p:cNvPicPr>
            <a:picLocks noChangeAspect="1" noChangeArrowheads="1"/>
          </p:cNvPicPr>
          <p:nvPr/>
        </p:nvPicPr>
        <p:blipFill>
          <a:blip r:embed="rId7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7869" y="1491927"/>
            <a:ext cx="422444" cy="20972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101" name="Picture 100"/>
          <p:cNvPicPr>
            <a:picLocks noChangeAspect="1"/>
          </p:cNvPicPr>
          <p:nvPr/>
        </p:nvPicPr>
        <p:blipFill>
          <a:blip r:embed="rId7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76068" y="1962712"/>
            <a:ext cx="514843" cy="150776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102" name="Picture 10"/>
          <p:cNvPicPr>
            <a:picLocks noChangeAspect="1" noChangeArrowheads="1"/>
          </p:cNvPicPr>
          <p:nvPr/>
        </p:nvPicPr>
        <p:blipFill>
          <a:blip r:embed="rId8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4749" y="1732128"/>
            <a:ext cx="767054" cy="133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Picture 27"/>
          <p:cNvPicPr>
            <a:picLocks noChangeAspect="1" noChangeArrowheads="1"/>
          </p:cNvPicPr>
          <p:nvPr/>
        </p:nvPicPr>
        <p:blipFill>
          <a:blip r:embed="rId81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t="24874" b="43387"/>
          <a:stretch>
            <a:fillRect/>
          </a:stretch>
        </p:blipFill>
        <p:spPr bwMode="auto">
          <a:xfrm>
            <a:off x="6700567" y="2119731"/>
            <a:ext cx="466344" cy="14801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5" name="Picture 104"/>
          <p:cNvPicPr>
            <a:picLocks noChangeAspect="1"/>
          </p:cNvPicPr>
          <p:nvPr/>
        </p:nvPicPr>
        <p:blipFill>
          <a:blip r:embed="rId82"/>
          <a:stretch>
            <a:fillRect/>
          </a:stretch>
        </p:blipFill>
        <p:spPr>
          <a:xfrm>
            <a:off x="6322549" y="2193737"/>
            <a:ext cx="284341" cy="289522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106" name="Picture 12"/>
          <p:cNvPicPr>
            <a:picLocks noChangeAspect="1" noChangeArrowheads="1"/>
          </p:cNvPicPr>
          <p:nvPr/>
        </p:nvPicPr>
        <p:blipFill>
          <a:blip r:embed="rId8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612384" y="2240179"/>
            <a:ext cx="557327" cy="172331"/>
          </a:xfrm>
          <a:prstGeom prst="rect">
            <a:avLst/>
          </a:prstGeom>
          <a:noFill/>
        </p:spPr>
      </p:pic>
      <p:pic>
        <p:nvPicPr>
          <p:cNvPr id="107" name="Picture 106"/>
          <p:cNvPicPr>
            <a:picLocks noChangeAspect="1"/>
          </p:cNvPicPr>
          <p:nvPr/>
        </p:nvPicPr>
        <p:blipFill>
          <a:blip r:embed="rId8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5296" y="2334995"/>
            <a:ext cx="831018" cy="156905"/>
          </a:xfrm>
          <a:prstGeom prst="rect">
            <a:avLst/>
          </a:prstGeom>
        </p:spPr>
      </p:pic>
      <p:pic>
        <p:nvPicPr>
          <p:cNvPr id="108" name="Picture 44"/>
          <p:cNvPicPr>
            <a:picLocks noChangeAspect="1" noChangeArrowheads="1"/>
          </p:cNvPicPr>
          <p:nvPr/>
        </p:nvPicPr>
        <p:blipFill rotWithShape="1">
          <a:blip r:embed="rId8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15" t="174" r="18981" b="49775"/>
          <a:stretch/>
        </p:blipFill>
        <p:spPr bwMode="auto">
          <a:xfrm>
            <a:off x="8136580" y="2261991"/>
            <a:ext cx="452693" cy="25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108"/>
          <p:cNvPicPr>
            <a:picLocks noChangeAspect="1" noChangeArrowheads="1"/>
          </p:cNvPicPr>
          <p:nvPr/>
        </p:nvPicPr>
        <p:blipFill>
          <a:blip r:embed="rId8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33450" y="1553508"/>
            <a:ext cx="330732" cy="32039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110" name="Picture 6"/>
          <p:cNvPicPr>
            <a:picLocks noChangeAspect="1" noChangeArrowheads="1"/>
          </p:cNvPicPr>
          <p:nvPr/>
        </p:nvPicPr>
        <p:blipFill>
          <a:blip r:embed="rId8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949664" y="2034075"/>
            <a:ext cx="660256" cy="12120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111" name="Picture 13"/>
          <p:cNvPicPr>
            <a:picLocks noChangeAspect="1" noChangeArrowheads="1"/>
          </p:cNvPicPr>
          <p:nvPr/>
        </p:nvPicPr>
        <p:blipFill>
          <a:blip r:embed="rId8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27936" y="1898103"/>
            <a:ext cx="610305" cy="37951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112" name="Picture 8"/>
          <p:cNvPicPr>
            <a:picLocks noChangeAspect="1" noChangeArrowheads="1"/>
          </p:cNvPicPr>
          <p:nvPr/>
        </p:nvPicPr>
        <p:blipFill rotWithShape="1">
          <a:blip r:embed="rId8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674" t="17403" r="32124" b="18183"/>
          <a:stretch/>
        </p:blipFill>
        <p:spPr bwMode="auto">
          <a:xfrm>
            <a:off x="4573500" y="1573081"/>
            <a:ext cx="343862" cy="349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" name="Picture 112"/>
          <p:cNvPicPr>
            <a:picLocks noChangeAspect="1"/>
          </p:cNvPicPr>
          <p:nvPr/>
        </p:nvPicPr>
        <p:blipFill rotWithShape="1">
          <a:blip r:embed="rId9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7065" t="12407" r="30006" b="51781"/>
          <a:stretch/>
        </p:blipFill>
        <p:spPr>
          <a:xfrm>
            <a:off x="4545583" y="2024137"/>
            <a:ext cx="378719" cy="341082"/>
          </a:xfrm>
          <a:prstGeom prst="rect">
            <a:avLst/>
          </a:prstGeom>
        </p:spPr>
      </p:pic>
      <p:pic>
        <p:nvPicPr>
          <p:cNvPr id="114" name="Picture 16"/>
          <p:cNvPicPr>
            <a:picLocks noChangeAspect="1" noChangeArrowheads="1"/>
          </p:cNvPicPr>
          <p:nvPr/>
        </p:nvPicPr>
        <p:blipFill>
          <a:blip r:embed="rId91" cstate="print"/>
          <a:stretch>
            <a:fillRect/>
          </a:stretch>
        </p:blipFill>
        <p:spPr bwMode="auto">
          <a:xfrm>
            <a:off x="3472603" y="2289520"/>
            <a:ext cx="520825" cy="19317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6" name="Group 115"/>
          <p:cNvGrpSpPr/>
          <p:nvPr/>
        </p:nvGrpSpPr>
        <p:grpSpPr>
          <a:xfrm rot="16200000">
            <a:off x="3520035" y="4789731"/>
            <a:ext cx="183515" cy="183515"/>
            <a:chOff x="982662" y="1847850"/>
            <a:chExt cx="269875" cy="269875"/>
          </a:xfrm>
        </p:grpSpPr>
        <p:sp>
          <p:nvSpPr>
            <p:cNvPr id="150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29BA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224" kern="0" dirty="0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151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224" kern="0" dirty="0">
                <a:solidFill>
                  <a:prstClr val="white"/>
                </a:solidFill>
                <a:latin typeface="Trebuchet MS"/>
              </a:endParaRPr>
            </a:p>
          </p:txBody>
        </p:sp>
      </p:grpSp>
      <p:grpSp>
        <p:nvGrpSpPr>
          <p:cNvPr id="117" name="Group 116"/>
          <p:cNvGrpSpPr/>
          <p:nvPr/>
        </p:nvGrpSpPr>
        <p:grpSpPr>
          <a:xfrm rot="16200000">
            <a:off x="7088488" y="4789730"/>
            <a:ext cx="183515" cy="183515"/>
            <a:chOff x="982662" y="1847850"/>
            <a:chExt cx="269875" cy="269875"/>
          </a:xfrm>
        </p:grpSpPr>
        <p:sp>
          <p:nvSpPr>
            <p:cNvPr id="148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29BA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224" kern="0" dirty="0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149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224" kern="0" dirty="0">
                <a:solidFill>
                  <a:prstClr val="white"/>
                </a:solidFill>
                <a:latin typeface="Trebuchet MS"/>
              </a:endParaRPr>
            </a:p>
          </p:txBody>
        </p:sp>
      </p:grpSp>
      <p:sp>
        <p:nvSpPr>
          <p:cNvPr id="118" name="TextBox 117"/>
          <p:cNvSpPr txBox="1"/>
          <p:nvPr/>
        </p:nvSpPr>
        <p:spPr>
          <a:xfrm>
            <a:off x="4919444" y="5861077"/>
            <a:ext cx="235449" cy="1046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defRPr/>
            </a:pPr>
            <a:r>
              <a:rPr lang="en-US" sz="680" b="1" kern="0" dirty="0">
                <a:solidFill>
                  <a:srgbClr val="575757"/>
                </a:solidFill>
                <a:latin typeface="Trebuchet MS"/>
                <a:cs typeface="Arial" pitchFamily="34" charset="0"/>
              </a:rPr>
              <a:t>Banks</a:t>
            </a:r>
          </a:p>
        </p:txBody>
      </p:sp>
      <p:pic>
        <p:nvPicPr>
          <p:cNvPr id="119" name="Picture 13"/>
          <p:cNvPicPr>
            <a:picLocks noChangeAspect="1" noChangeArrowheads="1"/>
          </p:cNvPicPr>
          <p:nvPr/>
        </p:nvPicPr>
        <p:blipFill>
          <a:blip r:embed="rId9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7766" y="5720083"/>
            <a:ext cx="467823" cy="96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0" name="Picture 90"/>
          <p:cNvPicPr>
            <a:picLocks noChangeAspect="1" noChangeArrowheads="1"/>
          </p:cNvPicPr>
          <p:nvPr/>
        </p:nvPicPr>
        <p:blipFill>
          <a:blip r:embed="rId93" cstate="print"/>
          <a:srcRect/>
          <a:stretch>
            <a:fillRect/>
          </a:stretch>
        </p:blipFill>
        <p:spPr bwMode="auto">
          <a:xfrm>
            <a:off x="5578901" y="5228542"/>
            <a:ext cx="500866" cy="136600"/>
          </a:xfrm>
          <a:prstGeom prst="rect">
            <a:avLst/>
          </a:prstGeom>
          <a:noFill/>
        </p:spPr>
      </p:pic>
      <p:pic>
        <p:nvPicPr>
          <p:cNvPr id="121" name="Picture 4"/>
          <p:cNvPicPr>
            <a:picLocks noChangeAspect="1" noChangeArrowheads="1"/>
          </p:cNvPicPr>
          <p:nvPr/>
        </p:nvPicPr>
        <p:blipFill>
          <a:blip r:embed="rId9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9883" y="5404223"/>
            <a:ext cx="378905" cy="117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" name="Picture 51"/>
          <p:cNvPicPr>
            <a:picLocks noChangeAspect="1" noChangeArrowheads="1"/>
          </p:cNvPicPr>
          <p:nvPr/>
        </p:nvPicPr>
        <p:blipFill>
          <a:blip r:embed="rId9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0859" y="5568288"/>
            <a:ext cx="671044" cy="105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" name="Picture 11"/>
          <p:cNvPicPr>
            <a:picLocks noChangeAspect="1" noChangeArrowheads="1"/>
          </p:cNvPicPr>
          <p:nvPr/>
        </p:nvPicPr>
        <p:blipFill>
          <a:blip r:embed="rId9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4535086" y="4414149"/>
            <a:ext cx="530596" cy="101559"/>
          </a:xfrm>
          <a:prstGeom prst="rect">
            <a:avLst/>
          </a:prstGeom>
          <a:noFill/>
          <a:ln>
            <a:noFill/>
          </a:ln>
        </p:spPr>
      </p:pic>
      <p:pic>
        <p:nvPicPr>
          <p:cNvPr id="125" name="Picture 94"/>
          <p:cNvPicPr>
            <a:picLocks noChangeAspect="1" noChangeArrowheads="1"/>
          </p:cNvPicPr>
          <p:nvPr/>
        </p:nvPicPr>
        <p:blipFill>
          <a:blip r:embed="rId9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1125" y="1397535"/>
            <a:ext cx="359806" cy="359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" name="Picture 101"/>
          <p:cNvPicPr>
            <a:picLocks noChangeAspect="1" noChangeArrowheads="1"/>
          </p:cNvPicPr>
          <p:nvPr/>
        </p:nvPicPr>
        <p:blipFill>
          <a:blip r:embed="rId9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2020" y="3905945"/>
            <a:ext cx="286826" cy="286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7" name="Picture 104"/>
          <p:cNvPicPr>
            <a:picLocks noChangeAspect="1" noChangeArrowheads="1"/>
          </p:cNvPicPr>
          <p:nvPr/>
        </p:nvPicPr>
        <p:blipFill>
          <a:blip r:embed="rId99" cstate="print">
            <a:clrChange>
              <a:clrFrom>
                <a:srgbClr val="FEFFFE"/>
              </a:clrFrom>
              <a:clrTo>
                <a:srgbClr val="FE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3548" y="3600177"/>
            <a:ext cx="315824" cy="315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" name="Picture 108"/>
          <p:cNvPicPr>
            <a:picLocks noChangeAspect="1" noChangeArrowheads="1"/>
          </p:cNvPicPr>
          <p:nvPr/>
        </p:nvPicPr>
        <p:blipFill>
          <a:blip r:embed="rId10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3678" y="3991700"/>
            <a:ext cx="543302" cy="312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9" name="Picture 111"/>
          <p:cNvPicPr>
            <a:picLocks noChangeAspect="1" noChangeArrowheads="1"/>
          </p:cNvPicPr>
          <p:nvPr/>
        </p:nvPicPr>
        <p:blipFill rotWithShape="1">
          <a:blip r:embed="rId101" cstate="print">
            <a:clrChange>
              <a:clrFrom>
                <a:srgbClr val="FCFEFC"/>
              </a:clrFrom>
              <a:clrTo>
                <a:srgbClr val="FCFE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404" b="30342"/>
          <a:stretch/>
        </p:blipFill>
        <p:spPr bwMode="auto">
          <a:xfrm>
            <a:off x="7261771" y="1766875"/>
            <a:ext cx="395515" cy="155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0" name="Picture 129"/>
          <p:cNvPicPr>
            <a:picLocks noChangeAspect="1" noChangeArrowheads="1"/>
          </p:cNvPicPr>
          <p:nvPr/>
        </p:nvPicPr>
        <p:blipFill rotWithShape="1">
          <a:blip r:embed="rId102" cstate="print">
            <a:clrChange>
              <a:clrFrom>
                <a:srgbClr val="FEFFFE"/>
              </a:clrFrom>
              <a:clrTo>
                <a:srgbClr val="FE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477" r="3260" b="27664"/>
          <a:stretch/>
        </p:blipFill>
        <p:spPr bwMode="auto">
          <a:xfrm>
            <a:off x="7618827" y="3071069"/>
            <a:ext cx="431204" cy="226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1" name="Picture 131"/>
          <p:cNvPicPr>
            <a:picLocks noChangeAspect="1" noChangeArrowheads="1"/>
          </p:cNvPicPr>
          <p:nvPr/>
        </p:nvPicPr>
        <p:blipFill>
          <a:blip r:embed="rId10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0368" y="3006974"/>
            <a:ext cx="346605" cy="346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2" name="Picture 136"/>
          <p:cNvPicPr>
            <a:picLocks noChangeAspect="1" noChangeArrowheads="1"/>
          </p:cNvPicPr>
          <p:nvPr/>
        </p:nvPicPr>
        <p:blipFill rotWithShape="1">
          <a:blip r:embed="rId10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702" b="34287"/>
          <a:stretch/>
        </p:blipFill>
        <p:spPr bwMode="auto">
          <a:xfrm>
            <a:off x="5911059" y="2825396"/>
            <a:ext cx="558020" cy="162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" name="Picture 132"/>
          <p:cNvPicPr>
            <a:picLocks noChangeAspect="1"/>
          </p:cNvPicPr>
          <p:nvPr/>
        </p:nvPicPr>
        <p:blipFill>
          <a:blip r:embed="rId105"/>
          <a:stretch>
            <a:fillRect/>
          </a:stretch>
        </p:blipFill>
        <p:spPr>
          <a:xfrm>
            <a:off x="9080806" y="4350682"/>
            <a:ext cx="593447" cy="80362"/>
          </a:xfrm>
          <a:prstGeom prst="rect">
            <a:avLst/>
          </a:prstGeom>
        </p:spPr>
      </p:pic>
      <p:pic>
        <p:nvPicPr>
          <p:cNvPr id="134" name="Picture 144"/>
          <p:cNvPicPr>
            <a:picLocks noChangeAspect="1" noChangeArrowheads="1"/>
          </p:cNvPicPr>
          <p:nvPr/>
        </p:nvPicPr>
        <p:blipFill>
          <a:blip r:embed="rId10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6869" y="3987015"/>
            <a:ext cx="538524" cy="215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5" name="Picture 151"/>
          <p:cNvPicPr>
            <a:picLocks noChangeAspect="1" noChangeArrowheads="1"/>
          </p:cNvPicPr>
          <p:nvPr/>
        </p:nvPicPr>
        <p:blipFill>
          <a:blip r:embed="rId10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962" y="5975941"/>
            <a:ext cx="357867" cy="274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6" name="TextBox 135"/>
          <p:cNvSpPr txBox="1"/>
          <p:nvPr/>
        </p:nvSpPr>
        <p:spPr>
          <a:xfrm>
            <a:off x="8410526" y="5743268"/>
            <a:ext cx="473079" cy="1046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defRPr/>
            </a:pPr>
            <a:r>
              <a:rPr lang="en-US" sz="680" b="1" kern="0" dirty="0">
                <a:solidFill>
                  <a:srgbClr val="575757"/>
                </a:solidFill>
                <a:latin typeface="Trebuchet MS"/>
                <a:cs typeface="Arial" pitchFamily="34" charset="0"/>
              </a:rPr>
              <a:t>Consultants</a:t>
            </a:r>
          </a:p>
        </p:txBody>
      </p:sp>
      <p:pic>
        <p:nvPicPr>
          <p:cNvPr id="137" name="Picture 153"/>
          <p:cNvPicPr>
            <a:picLocks noChangeAspect="1" noChangeArrowheads="1"/>
          </p:cNvPicPr>
          <p:nvPr/>
        </p:nvPicPr>
        <p:blipFill>
          <a:blip r:embed="rId10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8665" y="5903691"/>
            <a:ext cx="369502" cy="230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" name="Picture 155"/>
          <p:cNvPicPr>
            <a:picLocks noChangeAspect="1" noChangeArrowheads="1"/>
          </p:cNvPicPr>
          <p:nvPr/>
        </p:nvPicPr>
        <p:blipFill>
          <a:blip r:embed="rId10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6431" y="5789537"/>
            <a:ext cx="393494" cy="188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9" name="Picture 158"/>
          <p:cNvPicPr>
            <a:picLocks noChangeAspect="1" noChangeArrowheads="1"/>
          </p:cNvPicPr>
          <p:nvPr/>
        </p:nvPicPr>
        <p:blipFill>
          <a:blip r:embed="rId1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6456" y="5428710"/>
            <a:ext cx="393275" cy="148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0" name="Picture 161"/>
          <p:cNvPicPr>
            <a:picLocks noChangeAspect="1" noChangeArrowheads="1"/>
          </p:cNvPicPr>
          <p:nvPr/>
        </p:nvPicPr>
        <p:blipFill>
          <a:blip r:embed="rId1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9631" y="5394390"/>
            <a:ext cx="637433" cy="233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1" name="Picture 167"/>
          <p:cNvPicPr>
            <a:picLocks noChangeAspect="1" noChangeArrowheads="1"/>
          </p:cNvPicPr>
          <p:nvPr/>
        </p:nvPicPr>
        <p:blipFill>
          <a:blip r:embed="rId1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7318" y="3875111"/>
            <a:ext cx="723235" cy="217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2" name="Picture 170"/>
          <p:cNvPicPr>
            <a:picLocks noChangeAspect="1" noChangeArrowheads="1"/>
          </p:cNvPicPr>
          <p:nvPr/>
        </p:nvPicPr>
        <p:blipFill>
          <a:blip r:embed="rId1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2560" y="5488779"/>
            <a:ext cx="651572" cy="454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3" name="TextBox 142"/>
          <p:cNvSpPr txBox="1"/>
          <p:nvPr/>
        </p:nvSpPr>
        <p:spPr>
          <a:xfrm>
            <a:off x="7665979" y="5009222"/>
            <a:ext cx="444737" cy="2092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defRPr/>
            </a:pPr>
            <a:r>
              <a:rPr lang="en-US" sz="680" b="1" kern="0" dirty="0">
                <a:solidFill>
                  <a:srgbClr val="575757"/>
                </a:solidFill>
                <a:latin typeface="Trebuchet MS"/>
                <a:cs typeface="Arial" pitchFamily="34" charset="0"/>
              </a:rPr>
              <a:t>Public</a:t>
            </a:r>
          </a:p>
          <a:p>
            <a:pPr algn="ctr">
              <a:defRPr/>
            </a:pPr>
            <a:r>
              <a:rPr lang="en-US" sz="680" b="1" kern="0" dirty="0">
                <a:solidFill>
                  <a:srgbClr val="575757"/>
                </a:solidFill>
                <a:latin typeface="Trebuchet MS"/>
                <a:cs typeface="Arial" pitchFamily="34" charset="0"/>
              </a:rPr>
              <a:t>authorities</a:t>
            </a:r>
          </a:p>
        </p:txBody>
      </p:sp>
      <p:pic>
        <p:nvPicPr>
          <p:cNvPr id="144" name="Picture 143"/>
          <p:cNvPicPr>
            <a:picLocks noChangeAspect="1"/>
          </p:cNvPicPr>
          <p:nvPr/>
        </p:nvPicPr>
        <p:blipFill>
          <a:blip r:embed="rId1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759101" y="4306869"/>
            <a:ext cx="249006" cy="270444"/>
          </a:xfrm>
          <a:prstGeom prst="rect">
            <a:avLst/>
          </a:prstGeom>
        </p:spPr>
      </p:pic>
      <p:pic>
        <p:nvPicPr>
          <p:cNvPr id="145" name="Picture 179"/>
          <p:cNvPicPr>
            <a:picLocks noChangeAspect="1" noChangeArrowheads="1"/>
          </p:cNvPicPr>
          <p:nvPr/>
        </p:nvPicPr>
        <p:blipFill>
          <a:blip r:embed="rId1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1195" y="4236752"/>
            <a:ext cx="646732" cy="48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" name="Picture 145"/>
          <p:cNvPicPr>
            <a:picLocks noChangeAspect="1"/>
          </p:cNvPicPr>
          <p:nvPr/>
        </p:nvPicPr>
        <p:blipFill>
          <a:blip r:embed="rId1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408642" y="3647886"/>
            <a:ext cx="609325" cy="223891"/>
          </a:xfrm>
          <a:prstGeom prst="rect">
            <a:avLst/>
          </a:prstGeom>
        </p:spPr>
      </p:pic>
      <p:pic>
        <p:nvPicPr>
          <p:cNvPr id="147" name="Picture 146"/>
          <p:cNvPicPr>
            <a:picLocks noChangeAspect="1"/>
          </p:cNvPicPr>
          <p:nvPr/>
        </p:nvPicPr>
        <p:blipFill>
          <a:blip r:embed="rId1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977274" y="5385221"/>
            <a:ext cx="671808" cy="191945"/>
          </a:xfrm>
          <a:prstGeom prst="rect">
            <a:avLst/>
          </a:prstGeom>
        </p:spPr>
      </p:pic>
      <p:pic>
        <p:nvPicPr>
          <p:cNvPr id="160" name="Picture 2"/>
          <p:cNvPicPr>
            <a:picLocks noChangeAspect="1" noChangeArrowheads="1"/>
          </p:cNvPicPr>
          <p:nvPr/>
        </p:nvPicPr>
        <p:blipFill>
          <a:blip r:embed="rId1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3625" y="1467061"/>
            <a:ext cx="480430" cy="251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643" y="1545794"/>
            <a:ext cx="680218" cy="319418"/>
          </a:xfrm>
          <a:prstGeom prst="rect">
            <a:avLst/>
          </a:prstGeom>
        </p:spPr>
      </p:pic>
      <p:pic>
        <p:nvPicPr>
          <p:cNvPr id="161" name="Picture 160"/>
          <p:cNvPicPr>
            <a:picLocks noChangeAspect="1"/>
          </p:cNvPicPr>
          <p:nvPr/>
        </p:nvPicPr>
        <p:blipFill>
          <a:blip r:embed="rId120"/>
          <a:stretch>
            <a:fillRect/>
          </a:stretch>
        </p:blipFill>
        <p:spPr>
          <a:xfrm>
            <a:off x="6426265" y="4409146"/>
            <a:ext cx="510466" cy="99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029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836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13" name="Shape 3146"/>
          <p:cNvSpPr txBox="1">
            <a:spLocks noGrp="1"/>
          </p:cNvSpPr>
          <p:nvPr>
            <p:ph type="title"/>
          </p:nvPr>
        </p:nvSpPr>
        <p:spPr>
          <a:xfrm>
            <a:off x="580473" y="361776"/>
            <a:ext cx="11033608" cy="831601"/>
          </a:xfrm>
          <a:prstGeom prst="rect">
            <a:avLst/>
          </a:prstGeom>
        </p:spPr>
        <p:txBody>
          <a:bodyPr/>
          <a:lstStyle/>
          <a:p>
            <a:r>
              <a:rPr dirty="0" smtClean="0"/>
              <a:t>AI-enabled </a:t>
            </a:r>
            <a:r>
              <a:rPr lang="en-US" dirty="0" smtClean="0"/>
              <a:t>SC</a:t>
            </a:r>
            <a:r>
              <a:rPr dirty="0" smtClean="0"/>
              <a:t> </a:t>
            </a:r>
            <a:r>
              <a:rPr dirty="0"/>
              <a:t>transformation based on </a:t>
            </a:r>
            <a:r>
              <a:rPr dirty="0" smtClean="0"/>
              <a:t>collaboration</a:t>
            </a:r>
            <a:r>
              <a:rPr lang="en-US" dirty="0" smtClean="0"/>
              <a:t>… several steps</a:t>
            </a:r>
            <a:br>
              <a:rPr lang="en-US" dirty="0" smtClean="0"/>
            </a:br>
            <a:r>
              <a:rPr dirty="0" smtClean="0"/>
              <a:t> </a:t>
            </a:r>
            <a:endParaRPr dirty="0"/>
          </a:p>
        </p:txBody>
      </p:sp>
      <p:sp>
        <p:nvSpPr>
          <p:cNvPr id="37" name="Shape 3148"/>
          <p:cNvSpPr txBox="1"/>
          <p:nvPr/>
        </p:nvSpPr>
        <p:spPr>
          <a:xfrm>
            <a:off x="580476" y="3308230"/>
            <a:ext cx="1485884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 algn="r">
              <a:defRPr sz="1300" b="1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1800">
                <a:latin typeface="+mj-lt"/>
                <a:cs typeface="Calibri" panose="020F0502020204030204" pitchFamily="34" charset="0"/>
              </a:rPr>
              <a:t>Connectivity</a:t>
            </a:r>
          </a:p>
        </p:txBody>
      </p:sp>
      <p:sp>
        <p:nvSpPr>
          <p:cNvPr id="38" name="Shape 3149"/>
          <p:cNvSpPr txBox="1"/>
          <p:nvPr/>
        </p:nvSpPr>
        <p:spPr>
          <a:xfrm>
            <a:off x="186667" y="4871520"/>
            <a:ext cx="1879693" cy="5539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 algn="r">
              <a:defRPr sz="1300" b="1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sz="1800" dirty="0" smtClean="0">
                <a:latin typeface="+mj-lt"/>
                <a:cs typeface="Calibri" panose="020F0502020204030204" pitchFamily="34" charset="0"/>
              </a:rPr>
              <a:t>Example</a:t>
            </a:r>
          </a:p>
          <a:p>
            <a:r>
              <a:rPr lang="en-US" sz="1800" dirty="0" smtClean="0">
                <a:latin typeface="+mj-lt"/>
                <a:cs typeface="Calibri" panose="020F0502020204030204" pitchFamily="34" charset="0"/>
              </a:rPr>
              <a:t>u</a:t>
            </a:r>
            <a:r>
              <a:rPr sz="1800" dirty="0" smtClean="0">
                <a:latin typeface="+mj-lt"/>
                <a:cs typeface="Calibri" panose="020F0502020204030204" pitchFamily="34" charset="0"/>
              </a:rPr>
              <a:t>se </a:t>
            </a:r>
            <a:r>
              <a:rPr lang="en-US" sz="1800" dirty="0">
                <a:latin typeface="+mj-lt"/>
                <a:cs typeface="Calibri" panose="020F0502020204030204" pitchFamily="34" charset="0"/>
              </a:rPr>
              <a:t>c</a:t>
            </a:r>
            <a:r>
              <a:rPr sz="1800" dirty="0" smtClean="0">
                <a:latin typeface="+mj-lt"/>
                <a:cs typeface="Calibri" panose="020F0502020204030204" pitchFamily="34" charset="0"/>
              </a:rPr>
              <a:t>ases</a:t>
            </a:r>
            <a:endParaRPr sz="1800" dirty="0">
              <a:latin typeface="+mj-lt"/>
              <a:cs typeface="Calibri" panose="020F0502020204030204" pitchFamily="34" charset="0"/>
            </a:endParaRPr>
          </a:p>
        </p:txBody>
      </p:sp>
      <p:sp>
        <p:nvSpPr>
          <p:cNvPr id="39" name="Shape 3160"/>
          <p:cNvSpPr/>
          <p:nvPr/>
        </p:nvSpPr>
        <p:spPr>
          <a:xfrm flipH="1">
            <a:off x="2251875" y="2730133"/>
            <a:ext cx="3" cy="1397546"/>
          </a:xfrm>
          <a:prstGeom prst="line">
            <a:avLst/>
          </a:prstGeom>
          <a:ln w="25400">
            <a:solidFill>
              <a:srgbClr val="808080"/>
            </a:solidFill>
          </a:ln>
        </p:spPr>
        <p:txBody>
          <a:bodyPr lIns="0" tIns="0" rIns="0" bIns="0"/>
          <a:lstStyle/>
          <a:p>
            <a:pPr>
              <a:defRPr sz="1400">
                <a:latin typeface="Arial"/>
                <a:ea typeface="Arial"/>
                <a:cs typeface="Arial"/>
                <a:sym typeface="Arial"/>
              </a:defRPr>
            </a:pPr>
            <a:endParaRPr>
              <a:latin typeface="+mj-lt"/>
              <a:cs typeface="Calibri" panose="020F0502020204030204" pitchFamily="34" charset="0"/>
            </a:endParaRPr>
          </a:p>
        </p:txBody>
      </p:sp>
      <p:sp>
        <p:nvSpPr>
          <p:cNvPr id="40" name="Shape 3161"/>
          <p:cNvSpPr/>
          <p:nvPr/>
        </p:nvSpPr>
        <p:spPr>
          <a:xfrm flipH="1">
            <a:off x="2251875" y="4579209"/>
            <a:ext cx="1" cy="1222449"/>
          </a:xfrm>
          <a:prstGeom prst="line">
            <a:avLst/>
          </a:prstGeom>
          <a:ln w="25400">
            <a:solidFill>
              <a:srgbClr val="808080"/>
            </a:solidFill>
          </a:ln>
        </p:spPr>
        <p:txBody>
          <a:bodyPr lIns="0" tIns="0" rIns="0" bIns="0"/>
          <a:lstStyle/>
          <a:p>
            <a:pPr>
              <a:defRPr sz="1400">
                <a:latin typeface="Arial"/>
                <a:ea typeface="Arial"/>
                <a:cs typeface="Arial"/>
                <a:sym typeface="Arial"/>
              </a:defRPr>
            </a:pPr>
            <a:endParaRPr>
              <a:latin typeface="+mj-lt"/>
              <a:cs typeface="Calibri" panose="020F0502020204030204" pitchFamily="34" charset="0"/>
            </a:endParaRPr>
          </a:p>
        </p:txBody>
      </p:sp>
      <p:sp>
        <p:nvSpPr>
          <p:cNvPr id="41" name="Shape 3151"/>
          <p:cNvSpPr txBox="1"/>
          <p:nvPr/>
        </p:nvSpPr>
        <p:spPr>
          <a:xfrm>
            <a:off x="2888646" y="4618651"/>
            <a:ext cx="2478621" cy="5693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marL="288925" lvl="1" indent="-174625">
              <a:spcBef>
                <a:spcPts val="600"/>
              </a:spcBef>
              <a:buClr>
                <a:srgbClr val="4D4D4D"/>
              </a:buClr>
              <a:buSzPts val="1300"/>
              <a:buFont typeface="Arial"/>
              <a:buChar char="•"/>
              <a:defRPr sz="13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dirty="0">
                <a:latin typeface="+mj-lt"/>
                <a:cs typeface="Calibri" panose="020F0502020204030204" pitchFamily="34" charset="0"/>
              </a:rPr>
              <a:t>Predictive maintenance</a:t>
            </a:r>
          </a:p>
          <a:p>
            <a:pPr marL="288925" lvl="1" indent="-174625">
              <a:spcBef>
                <a:spcPts val="600"/>
              </a:spcBef>
              <a:buClr>
                <a:srgbClr val="4D4D4D"/>
              </a:buClr>
              <a:buSzPts val="1300"/>
              <a:buFont typeface="Arial"/>
              <a:buChar char="•"/>
              <a:defRPr sz="13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dirty="0">
                <a:latin typeface="+mj-lt"/>
                <a:cs typeface="Calibri" panose="020F0502020204030204" pitchFamily="34" charset="0"/>
              </a:rPr>
              <a:t>Inventory optimization</a:t>
            </a:r>
          </a:p>
        </p:txBody>
      </p:sp>
      <p:pic>
        <p:nvPicPr>
          <p:cNvPr id="42" name="Shape 3152"/>
          <p:cNvPicPr>
            <a:picLocks noChangeAspect="1"/>
          </p:cNvPicPr>
          <p:nvPr/>
        </p:nvPicPr>
        <p:blipFill rotWithShape="1">
          <a:blip r:embed="rId6">
            <a:extLst/>
          </a:blip>
          <a:srcRect b="15629"/>
          <a:stretch/>
        </p:blipFill>
        <p:spPr>
          <a:xfrm>
            <a:off x="2741263" y="2728536"/>
            <a:ext cx="2739209" cy="1401811"/>
          </a:xfrm>
          <a:prstGeom prst="rect">
            <a:avLst/>
          </a:prstGeom>
          <a:ln w="12700">
            <a:miter lim="400000"/>
          </a:ln>
        </p:spPr>
      </p:pic>
      <p:sp>
        <p:nvSpPr>
          <p:cNvPr id="43" name="Shape 3163"/>
          <p:cNvSpPr/>
          <p:nvPr/>
        </p:nvSpPr>
        <p:spPr>
          <a:xfrm>
            <a:off x="2937502" y="1483453"/>
            <a:ext cx="2506560" cy="73473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0315" y="0"/>
                </a:lnTo>
                <a:lnTo>
                  <a:pt x="21600" y="10800"/>
                </a:lnTo>
                <a:lnTo>
                  <a:pt x="20315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23A2B6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algn="ctr">
              <a:defRPr sz="13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dirty="0">
              <a:latin typeface="+mj-lt"/>
              <a:cs typeface="Calibri" panose="020F0502020204030204" pitchFamily="34" charset="0"/>
            </a:endParaRPr>
          </a:p>
        </p:txBody>
      </p:sp>
      <p:sp>
        <p:nvSpPr>
          <p:cNvPr id="44" name="Shape 3154"/>
          <p:cNvSpPr txBox="1"/>
          <p:nvPr/>
        </p:nvSpPr>
        <p:spPr>
          <a:xfrm>
            <a:off x="5835609" y="4613952"/>
            <a:ext cx="2478621" cy="11387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marL="288925" lvl="1" indent="-174625">
              <a:spcBef>
                <a:spcPts val="600"/>
              </a:spcBef>
              <a:buClr>
                <a:srgbClr val="4D4D4D"/>
              </a:buClr>
              <a:buSzPts val="1300"/>
              <a:buFont typeface="Arial"/>
              <a:buChar char="•"/>
              <a:defRPr sz="13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dirty="0">
                <a:latin typeface="+mj-lt"/>
                <a:cs typeface="Calibri" panose="020F0502020204030204" pitchFamily="34" charset="0"/>
              </a:rPr>
              <a:t>Advanced command and control</a:t>
            </a:r>
          </a:p>
          <a:p>
            <a:pPr marL="288925" lvl="1" indent="-174625">
              <a:spcBef>
                <a:spcPts val="600"/>
              </a:spcBef>
              <a:buClr>
                <a:srgbClr val="4D4D4D"/>
              </a:buClr>
              <a:buSzPts val="1300"/>
              <a:buFont typeface="Arial"/>
              <a:buChar char="•"/>
              <a:defRPr sz="13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dirty="0">
                <a:latin typeface="+mj-lt"/>
                <a:cs typeface="Calibri" panose="020F0502020204030204" pitchFamily="34" charset="0"/>
              </a:rPr>
              <a:t>Risk management</a:t>
            </a:r>
          </a:p>
          <a:p>
            <a:pPr marL="288925" lvl="1" indent="-174625">
              <a:spcBef>
                <a:spcPts val="600"/>
              </a:spcBef>
              <a:buClr>
                <a:srgbClr val="4D4D4D"/>
              </a:buClr>
              <a:buSzPts val="1300"/>
              <a:buFont typeface="Arial"/>
              <a:buChar char="•"/>
              <a:defRPr sz="13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dirty="0">
                <a:latin typeface="+mj-lt"/>
                <a:cs typeface="Calibri" panose="020F0502020204030204" pitchFamily="34" charset="0"/>
              </a:rPr>
              <a:t>Secure data exchange</a:t>
            </a:r>
          </a:p>
        </p:txBody>
      </p:sp>
      <p:pic>
        <p:nvPicPr>
          <p:cNvPr id="45" name="Shape 3155"/>
          <p:cNvPicPr>
            <a:picLocks noChangeAspect="1"/>
          </p:cNvPicPr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5846200" y="2553575"/>
            <a:ext cx="2491461" cy="1576772"/>
          </a:xfrm>
          <a:prstGeom prst="rect">
            <a:avLst/>
          </a:prstGeom>
          <a:ln w="12700">
            <a:miter lim="400000"/>
          </a:ln>
        </p:spPr>
      </p:pic>
      <p:sp>
        <p:nvSpPr>
          <p:cNvPr id="46" name="Shape 3166"/>
          <p:cNvSpPr/>
          <p:nvPr/>
        </p:nvSpPr>
        <p:spPr>
          <a:xfrm>
            <a:off x="5874976" y="1483453"/>
            <a:ext cx="2506559" cy="734737"/>
          </a:xfrm>
          <a:prstGeom prst="chevron">
            <a:avLst>
              <a:gd name="adj" fmla="val 19517"/>
            </a:avLst>
          </a:prstGeom>
          <a:solidFill>
            <a:srgbClr val="23A2B6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algn="ctr">
              <a:defRPr sz="13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400">
              <a:latin typeface="+mj-lt"/>
              <a:cs typeface="Calibri" panose="020F0502020204030204" pitchFamily="34" charset="0"/>
            </a:endParaRPr>
          </a:p>
        </p:txBody>
      </p:sp>
      <p:sp>
        <p:nvSpPr>
          <p:cNvPr id="47" name="Shape 3157"/>
          <p:cNvSpPr txBox="1"/>
          <p:nvPr/>
        </p:nvSpPr>
        <p:spPr>
          <a:xfrm>
            <a:off x="8696983" y="4613925"/>
            <a:ext cx="2793859" cy="8925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marL="288925" lvl="1" indent="-174625">
              <a:spcBef>
                <a:spcPts val="600"/>
              </a:spcBef>
              <a:buClr>
                <a:srgbClr val="4D4D4D"/>
              </a:buClr>
              <a:buSzPts val="1300"/>
              <a:buFont typeface="Arial"/>
              <a:buChar char="•"/>
              <a:defRPr sz="13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dirty="0">
                <a:latin typeface="+mj-lt"/>
                <a:cs typeface="Calibri" panose="020F0502020204030204" pitchFamily="34" charset="0"/>
              </a:rPr>
              <a:t>“X” As-a-Service </a:t>
            </a:r>
          </a:p>
          <a:p>
            <a:pPr marL="288925" lvl="1" indent="-174625">
              <a:spcBef>
                <a:spcPts val="600"/>
              </a:spcBef>
              <a:buClr>
                <a:srgbClr val="4D4D4D"/>
              </a:buClr>
              <a:buSzPts val="1300"/>
              <a:buFont typeface="Arial"/>
              <a:buChar char="•"/>
              <a:defRPr sz="13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dirty="0">
                <a:latin typeface="+mj-lt"/>
                <a:cs typeface="Calibri" panose="020F0502020204030204" pitchFamily="34" charset="0"/>
              </a:rPr>
              <a:t>Capacity market</a:t>
            </a:r>
          </a:p>
          <a:p>
            <a:pPr marL="288925" lvl="1" indent="-174625">
              <a:spcBef>
                <a:spcPts val="600"/>
              </a:spcBef>
              <a:buClr>
                <a:srgbClr val="4D4D4D"/>
              </a:buClr>
              <a:buSzPts val="1300"/>
              <a:buFont typeface="Arial"/>
              <a:buChar char="•"/>
              <a:defRPr sz="13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dirty="0">
                <a:latin typeface="+mj-lt"/>
                <a:cs typeface="Calibri" panose="020F0502020204030204" pitchFamily="34" charset="0"/>
              </a:rPr>
              <a:t>Open standards</a:t>
            </a:r>
          </a:p>
        </p:txBody>
      </p:sp>
      <p:pic>
        <p:nvPicPr>
          <p:cNvPr id="48" name="Shape 3158"/>
          <p:cNvPicPr>
            <a:picLocks noChangeAspect="1"/>
          </p:cNvPicPr>
          <p:nvPr/>
        </p:nvPicPr>
        <p:blipFill>
          <a:blip r:embed="rId8">
            <a:extLst/>
          </a:blip>
          <a:stretch>
            <a:fillRect/>
          </a:stretch>
        </p:blipFill>
        <p:spPr>
          <a:xfrm>
            <a:off x="8601010" y="2408073"/>
            <a:ext cx="2659357" cy="1993745"/>
          </a:xfrm>
          <a:prstGeom prst="rect">
            <a:avLst/>
          </a:prstGeom>
          <a:ln w="12700">
            <a:miter lim="400000"/>
          </a:ln>
        </p:spPr>
      </p:pic>
      <p:sp>
        <p:nvSpPr>
          <p:cNvPr id="49" name="Shape 3169"/>
          <p:cNvSpPr/>
          <p:nvPr/>
        </p:nvSpPr>
        <p:spPr>
          <a:xfrm>
            <a:off x="8755921" y="1483453"/>
            <a:ext cx="2504446" cy="734737"/>
          </a:xfrm>
          <a:prstGeom prst="chevron">
            <a:avLst>
              <a:gd name="adj" fmla="val 18929"/>
            </a:avLst>
          </a:prstGeom>
          <a:solidFill>
            <a:srgbClr val="23A2B6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algn="ctr">
              <a:defRPr sz="13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400">
              <a:latin typeface="+mj-lt"/>
              <a:cs typeface="Calibri" panose="020F0502020204030204" pitchFamily="34" charset="0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5014160" y="3841003"/>
            <a:ext cx="429902" cy="286676"/>
          </a:xfrm>
          <a:prstGeom prst="rect">
            <a:avLst/>
          </a:prstGeom>
          <a:solidFill>
            <a:srgbClr val="FFFFFF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chemeClr val="tx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2913438" y="1452166"/>
            <a:ext cx="2542970" cy="797311"/>
          </a:xfrm>
          <a:prstGeom prst="rect">
            <a:avLst/>
          </a:prstGeom>
          <a:noFill/>
        </p:spPr>
        <p:txBody>
          <a:bodyPr wrap="square" lIns="0" tIns="90000" rIns="0" bIns="90000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FFFFFF"/>
                </a:solidFill>
                <a:latin typeface="+mj-lt"/>
                <a:cs typeface="Arial" pitchFamily="34" charset="0"/>
              </a:rPr>
              <a:t>Enhance</a:t>
            </a:r>
            <a:br>
              <a:rPr lang="en-US" sz="2000" b="1" dirty="0" smtClean="0">
                <a:solidFill>
                  <a:srgbClr val="FFFFFF"/>
                </a:solidFill>
                <a:latin typeface="+mj-lt"/>
                <a:cs typeface="Arial" pitchFamily="34" charset="0"/>
              </a:rPr>
            </a:br>
            <a:r>
              <a:rPr lang="en-US" sz="2000" b="1" dirty="0" smtClean="0">
                <a:solidFill>
                  <a:srgbClr val="FFFFFF"/>
                </a:solidFill>
                <a:latin typeface="+mj-lt"/>
                <a:cs typeface="Arial" pitchFamily="34" charset="0"/>
              </a:rPr>
              <a:t>internally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5887322" y="1452166"/>
            <a:ext cx="2542970" cy="797311"/>
          </a:xfrm>
          <a:prstGeom prst="rect">
            <a:avLst/>
          </a:prstGeom>
          <a:noFill/>
        </p:spPr>
        <p:txBody>
          <a:bodyPr wrap="square" lIns="0" tIns="90000" rIns="0" bIns="90000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FFFFFF"/>
                </a:solidFill>
                <a:latin typeface="+mj-lt"/>
                <a:cs typeface="Arial" pitchFamily="34" charset="0"/>
              </a:rPr>
              <a:t>Integrate</a:t>
            </a:r>
          </a:p>
          <a:p>
            <a:pPr algn="ctr"/>
            <a:r>
              <a:rPr lang="en-US" sz="2000" b="1" dirty="0" smtClean="0">
                <a:solidFill>
                  <a:srgbClr val="FFFFFF"/>
                </a:solidFill>
                <a:latin typeface="+mj-lt"/>
                <a:cs typeface="Arial" pitchFamily="34" charset="0"/>
              </a:rPr>
              <a:t>with partners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8717397" y="1452166"/>
            <a:ext cx="2542970" cy="797311"/>
          </a:xfrm>
          <a:prstGeom prst="rect">
            <a:avLst/>
          </a:prstGeom>
          <a:noFill/>
        </p:spPr>
        <p:txBody>
          <a:bodyPr wrap="square" lIns="0" tIns="90000" rIns="0" bIns="90000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FFFFFF"/>
                </a:solidFill>
                <a:latin typeface="+mj-lt"/>
                <a:cs typeface="Arial" pitchFamily="34" charset="0"/>
              </a:rPr>
              <a:t>Enable</a:t>
            </a:r>
            <a:br>
              <a:rPr lang="en-US" sz="2000" b="1" dirty="0" smtClean="0">
                <a:solidFill>
                  <a:srgbClr val="FFFFFF"/>
                </a:solidFill>
                <a:latin typeface="+mj-lt"/>
                <a:cs typeface="Arial" pitchFamily="34" charset="0"/>
              </a:rPr>
            </a:br>
            <a:r>
              <a:rPr lang="en-US" sz="2000" b="1" dirty="0" smtClean="0">
                <a:solidFill>
                  <a:srgbClr val="FFFFFF"/>
                </a:solidFill>
                <a:latin typeface="+mj-lt"/>
                <a:cs typeface="Arial" pitchFamily="34" charset="0"/>
              </a:rPr>
              <a:t>interoperability</a:t>
            </a:r>
          </a:p>
        </p:txBody>
      </p:sp>
    </p:spTree>
    <p:extLst>
      <p:ext uri="{BB962C8B-B14F-4D97-AF65-F5344CB8AC3E}">
        <p14:creationId xmlns:p14="http://schemas.microsoft.com/office/powerpoint/2010/main" val="182746220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54" name="Title 1"/>
          <p:cNvSpPr txBox="1">
            <a:spLocks noGrp="1"/>
          </p:cNvSpPr>
          <p:nvPr>
            <p:ph type="title"/>
          </p:nvPr>
        </p:nvSpPr>
        <p:spPr>
          <a:xfrm>
            <a:off x="580474" y="161999"/>
            <a:ext cx="11033606" cy="831601"/>
          </a:xfrm>
          <a:prstGeom prst="rect">
            <a:avLst/>
          </a:prstGeom>
        </p:spPr>
        <p:txBody>
          <a:bodyPr/>
          <a:lstStyle/>
          <a:p>
            <a:r>
              <a:t>SCALE AI's scope of work</a:t>
            </a:r>
          </a:p>
        </p:txBody>
      </p:sp>
      <p:sp>
        <p:nvSpPr>
          <p:cNvPr id="8256" name="TextBox 3"/>
          <p:cNvSpPr txBox="1"/>
          <p:nvPr/>
        </p:nvSpPr>
        <p:spPr>
          <a:xfrm>
            <a:off x="6096000" y="1325902"/>
            <a:ext cx="4235380" cy="4392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89999" tIns="89999" rIns="89999" bIns="89999">
            <a:spAutoFit/>
          </a:bodyPr>
          <a:lstStyle>
            <a:lvl1pPr>
              <a:defRPr b="1">
                <a:solidFill>
                  <a:srgbClr val="008FC8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he SCALE AI way</a:t>
            </a:r>
          </a:p>
        </p:txBody>
      </p:sp>
      <p:grpSp>
        <p:nvGrpSpPr>
          <p:cNvPr id="8259" name="Rectangle 4"/>
          <p:cNvGrpSpPr/>
          <p:nvPr/>
        </p:nvGrpSpPr>
        <p:grpSpPr>
          <a:xfrm>
            <a:off x="6095999" y="2148853"/>
            <a:ext cx="4784015" cy="457196"/>
            <a:chOff x="0" y="0"/>
            <a:chExt cx="4784013" cy="457195"/>
          </a:xfrm>
        </p:grpSpPr>
        <p:sp>
          <p:nvSpPr>
            <p:cNvPr id="8257" name="Rectangle"/>
            <p:cNvSpPr/>
            <p:nvPr/>
          </p:nvSpPr>
          <p:spPr>
            <a:xfrm>
              <a:off x="-1" y="-1"/>
              <a:ext cx="4784015" cy="457197"/>
            </a:xfrm>
            <a:prstGeom prst="rect">
              <a:avLst/>
            </a:prstGeom>
            <a:solidFill>
              <a:srgbClr val="E2E2E2"/>
            </a:solidFill>
            <a:ln w="9525" cap="flat">
              <a:solidFill>
                <a:srgbClr val="E2E2E2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258" name="Visibility / Influence"/>
            <p:cNvSpPr txBox="1"/>
            <p:nvPr/>
          </p:nvSpPr>
          <p:spPr>
            <a:xfrm>
              <a:off x="-1" y="39905"/>
              <a:ext cx="4784015" cy="37738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89999" tIns="89999" rIns="89999" bIns="89999" numCol="1" anchor="ctr">
              <a:spAutoFit/>
            </a:bodyPr>
            <a:lstStyle>
              <a:lvl1pPr algn="ctr">
                <a:defRPr sz="1400" b="1"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Visibility / Influence</a:t>
              </a:r>
            </a:p>
          </p:txBody>
        </p:sp>
      </p:grpSp>
      <p:grpSp>
        <p:nvGrpSpPr>
          <p:cNvPr id="8262" name="Rectangle 5"/>
          <p:cNvGrpSpPr/>
          <p:nvPr/>
        </p:nvGrpSpPr>
        <p:grpSpPr>
          <a:xfrm>
            <a:off x="6095999" y="2802755"/>
            <a:ext cx="4784015" cy="457196"/>
            <a:chOff x="0" y="0"/>
            <a:chExt cx="4784013" cy="457195"/>
          </a:xfrm>
        </p:grpSpPr>
        <p:sp>
          <p:nvSpPr>
            <p:cNvPr id="8260" name="Rectangle"/>
            <p:cNvSpPr/>
            <p:nvPr/>
          </p:nvSpPr>
          <p:spPr>
            <a:xfrm>
              <a:off x="-1" y="-1"/>
              <a:ext cx="4784015" cy="457197"/>
            </a:xfrm>
            <a:prstGeom prst="rect">
              <a:avLst/>
            </a:prstGeom>
            <a:solidFill>
              <a:srgbClr val="E2E2E2"/>
            </a:solidFill>
            <a:ln w="9525" cap="flat">
              <a:solidFill>
                <a:srgbClr val="E2E2E2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261" name="Relationship building"/>
            <p:cNvSpPr txBox="1"/>
            <p:nvPr/>
          </p:nvSpPr>
          <p:spPr>
            <a:xfrm>
              <a:off x="-1" y="39905"/>
              <a:ext cx="4784015" cy="37738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89999" tIns="89999" rIns="89999" bIns="89999" numCol="1" anchor="ctr">
              <a:spAutoFit/>
            </a:bodyPr>
            <a:lstStyle>
              <a:lvl1pPr algn="ctr">
                <a:defRPr sz="1400" b="1"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Relationship building</a:t>
              </a:r>
            </a:p>
          </p:txBody>
        </p:sp>
      </p:grpSp>
      <p:grpSp>
        <p:nvGrpSpPr>
          <p:cNvPr id="8265" name="Rectangle 6"/>
          <p:cNvGrpSpPr/>
          <p:nvPr/>
        </p:nvGrpSpPr>
        <p:grpSpPr>
          <a:xfrm>
            <a:off x="6095999" y="3456657"/>
            <a:ext cx="4784015" cy="457197"/>
            <a:chOff x="0" y="0"/>
            <a:chExt cx="4784013" cy="457195"/>
          </a:xfrm>
        </p:grpSpPr>
        <p:sp>
          <p:nvSpPr>
            <p:cNvPr id="8263" name="Rectangle"/>
            <p:cNvSpPr/>
            <p:nvPr/>
          </p:nvSpPr>
          <p:spPr>
            <a:xfrm>
              <a:off x="-1" y="-1"/>
              <a:ext cx="4784015" cy="457197"/>
            </a:xfrm>
            <a:prstGeom prst="rect">
              <a:avLst/>
            </a:prstGeom>
            <a:solidFill>
              <a:srgbClr val="E2E2E2"/>
            </a:solidFill>
            <a:ln w="9525" cap="flat">
              <a:solidFill>
                <a:srgbClr val="E2E2E2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264" name="Project methods"/>
            <p:cNvSpPr txBox="1"/>
            <p:nvPr/>
          </p:nvSpPr>
          <p:spPr>
            <a:xfrm>
              <a:off x="-1" y="39905"/>
              <a:ext cx="4784015" cy="37738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89999" tIns="89999" rIns="89999" bIns="89999" numCol="1" anchor="ctr">
              <a:spAutoFit/>
            </a:bodyPr>
            <a:lstStyle>
              <a:lvl1pPr algn="ctr">
                <a:defRPr sz="1400" b="1"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Project methods</a:t>
              </a:r>
            </a:p>
          </p:txBody>
        </p:sp>
      </p:grpSp>
      <p:grpSp>
        <p:nvGrpSpPr>
          <p:cNvPr id="8268" name="Rectangle 7"/>
          <p:cNvGrpSpPr/>
          <p:nvPr/>
        </p:nvGrpSpPr>
        <p:grpSpPr>
          <a:xfrm>
            <a:off x="6095999" y="4092495"/>
            <a:ext cx="1492211" cy="890969"/>
            <a:chOff x="0" y="0"/>
            <a:chExt cx="1492209" cy="890968"/>
          </a:xfrm>
        </p:grpSpPr>
        <p:sp>
          <p:nvSpPr>
            <p:cNvPr id="8266" name="Rectangle"/>
            <p:cNvSpPr/>
            <p:nvPr/>
          </p:nvSpPr>
          <p:spPr>
            <a:xfrm>
              <a:off x="-1" y="-1"/>
              <a:ext cx="1492211" cy="890970"/>
            </a:xfrm>
            <a:prstGeom prst="rect">
              <a:avLst/>
            </a:prstGeom>
            <a:solidFill>
              <a:srgbClr val="E2E2E2"/>
            </a:solidFill>
            <a:ln w="9525" cap="flat">
              <a:solidFill>
                <a:srgbClr val="E2E2E2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267" name="Technology ecosystem"/>
            <p:cNvSpPr txBox="1"/>
            <p:nvPr/>
          </p:nvSpPr>
          <p:spPr>
            <a:xfrm>
              <a:off x="-1" y="155192"/>
              <a:ext cx="1492211" cy="58058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89999" tIns="89999" rIns="89999" bIns="89999" numCol="1" anchor="ctr">
              <a:spAutoFit/>
            </a:bodyPr>
            <a:lstStyle>
              <a:lvl1pPr algn="ctr">
                <a:defRPr sz="1400" b="1"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Technology ecosystem</a:t>
              </a:r>
            </a:p>
          </p:txBody>
        </p:sp>
      </p:grpSp>
      <p:grpSp>
        <p:nvGrpSpPr>
          <p:cNvPr id="8271" name="Rectangle 8"/>
          <p:cNvGrpSpPr/>
          <p:nvPr/>
        </p:nvGrpSpPr>
        <p:grpSpPr>
          <a:xfrm>
            <a:off x="7741901" y="4092495"/>
            <a:ext cx="1492210" cy="890969"/>
            <a:chOff x="0" y="0"/>
            <a:chExt cx="1492209" cy="890968"/>
          </a:xfrm>
        </p:grpSpPr>
        <p:sp>
          <p:nvSpPr>
            <p:cNvPr id="8269" name="Rectangle"/>
            <p:cNvSpPr/>
            <p:nvPr/>
          </p:nvSpPr>
          <p:spPr>
            <a:xfrm>
              <a:off x="-1" y="-1"/>
              <a:ext cx="1492211" cy="890970"/>
            </a:xfrm>
            <a:prstGeom prst="rect">
              <a:avLst/>
            </a:prstGeom>
            <a:solidFill>
              <a:srgbClr val="E2E2E2"/>
            </a:solidFill>
            <a:ln w="9525" cap="flat">
              <a:solidFill>
                <a:srgbClr val="E2E2E2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270" name="Data"/>
            <p:cNvSpPr txBox="1"/>
            <p:nvPr/>
          </p:nvSpPr>
          <p:spPr>
            <a:xfrm>
              <a:off x="-1" y="256792"/>
              <a:ext cx="1492211" cy="37738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89999" tIns="89999" rIns="89999" bIns="89999" numCol="1" anchor="ctr">
              <a:spAutoFit/>
            </a:bodyPr>
            <a:lstStyle>
              <a:lvl1pPr algn="ctr">
                <a:defRPr sz="1400" b="1"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Data</a:t>
              </a:r>
            </a:p>
          </p:txBody>
        </p:sp>
      </p:grpSp>
      <p:grpSp>
        <p:nvGrpSpPr>
          <p:cNvPr id="8274" name="Rectangle 9"/>
          <p:cNvGrpSpPr/>
          <p:nvPr/>
        </p:nvGrpSpPr>
        <p:grpSpPr>
          <a:xfrm>
            <a:off x="9387803" y="4092495"/>
            <a:ext cx="1492210" cy="890969"/>
            <a:chOff x="0" y="0"/>
            <a:chExt cx="1492209" cy="890968"/>
          </a:xfrm>
        </p:grpSpPr>
        <p:sp>
          <p:nvSpPr>
            <p:cNvPr id="8272" name="Rectangle"/>
            <p:cNvSpPr/>
            <p:nvPr/>
          </p:nvSpPr>
          <p:spPr>
            <a:xfrm>
              <a:off x="-1" y="-1"/>
              <a:ext cx="1492211" cy="890970"/>
            </a:xfrm>
            <a:prstGeom prst="rect">
              <a:avLst/>
            </a:prstGeom>
            <a:solidFill>
              <a:srgbClr val="E2E2E2"/>
            </a:solidFill>
            <a:ln w="9525" cap="flat">
              <a:solidFill>
                <a:srgbClr val="E2E2E2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273" name="IP"/>
            <p:cNvSpPr txBox="1"/>
            <p:nvPr/>
          </p:nvSpPr>
          <p:spPr>
            <a:xfrm>
              <a:off x="-1" y="256792"/>
              <a:ext cx="1492211" cy="37738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89999" tIns="89999" rIns="89999" bIns="89999" numCol="1" anchor="ctr">
              <a:spAutoFit/>
            </a:bodyPr>
            <a:lstStyle>
              <a:lvl1pPr algn="ctr">
                <a:defRPr sz="1400" b="1"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IP</a:t>
              </a:r>
            </a:p>
          </p:txBody>
        </p:sp>
      </p:grpSp>
      <p:grpSp>
        <p:nvGrpSpPr>
          <p:cNvPr id="8277" name="Rectangle 10"/>
          <p:cNvGrpSpPr/>
          <p:nvPr/>
        </p:nvGrpSpPr>
        <p:grpSpPr>
          <a:xfrm>
            <a:off x="6095999" y="5162105"/>
            <a:ext cx="4784015" cy="457196"/>
            <a:chOff x="0" y="0"/>
            <a:chExt cx="4784013" cy="457195"/>
          </a:xfrm>
        </p:grpSpPr>
        <p:sp>
          <p:nvSpPr>
            <p:cNvPr id="8275" name="Rectangle"/>
            <p:cNvSpPr/>
            <p:nvPr/>
          </p:nvSpPr>
          <p:spPr>
            <a:xfrm>
              <a:off x="-1" y="-1"/>
              <a:ext cx="4784015" cy="457197"/>
            </a:xfrm>
            <a:prstGeom prst="rect">
              <a:avLst/>
            </a:prstGeom>
            <a:solidFill>
              <a:srgbClr val="E2E2E2"/>
            </a:solidFill>
            <a:ln w="9525" cap="flat">
              <a:solidFill>
                <a:srgbClr val="E2E2E2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276" name="Funding"/>
            <p:cNvSpPr txBox="1"/>
            <p:nvPr/>
          </p:nvSpPr>
          <p:spPr>
            <a:xfrm>
              <a:off x="-1" y="39905"/>
              <a:ext cx="4784015" cy="37738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89999" tIns="89999" rIns="89999" bIns="89999" numCol="1" anchor="ctr">
              <a:spAutoFit/>
            </a:bodyPr>
            <a:lstStyle>
              <a:lvl1pPr algn="ctr">
                <a:defRPr sz="1400" b="1"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Funding</a:t>
              </a:r>
            </a:p>
          </p:txBody>
        </p:sp>
      </p:grpSp>
      <p:grpSp>
        <p:nvGrpSpPr>
          <p:cNvPr id="8280" name="Rectangle 11"/>
          <p:cNvGrpSpPr/>
          <p:nvPr/>
        </p:nvGrpSpPr>
        <p:grpSpPr>
          <a:xfrm>
            <a:off x="6095999" y="5770260"/>
            <a:ext cx="4784015" cy="457196"/>
            <a:chOff x="0" y="0"/>
            <a:chExt cx="4784013" cy="457195"/>
          </a:xfrm>
        </p:grpSpPr>
        <p:sp>
          <p:nvSpPr>
            <p:cNvPr id="8278" name="Rectangle"/>
            <p:cNvSpPr/>
            <p:nvPr/>
          </p:nvSpPr>
          <p:spPr>
            <a:xfrm>
              <a:off x="-1" y="-1"/>
              <a:ext cx="4784015" cy="457197"/>
            </a:xfrm>
            <a:prstGeom prst="rect">
              <a:avLst/>
            </a:prstGeom>
            <a:solidFill>
              <a:srgbClr val="E2E2E2"/>
            </a:solidFill>
            <a:ln w="9525" cap="flat">
              <a:solidFill>
                <a:srgbClr val="E2E2E2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279" name="Governance"/>
            <p:cNvSpPr txBox="1"/>
            <p:nvPr/>
          </p:nvSpPr>
          <p:spPr>
            <a:xfrm>
              <a:off x="-1" y="39905"/>
              <a:ext cx="4784015" cy="37738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89999" tIns="89999" rIns="89999" bIns="89999" numCol="1" anchor="ctr">
              <a:spAutoFit/>
            </a:bodyPr>
            <a:lstStyle>
              <a:lvl1pPr algn="ctr">
                <a:defRPr sz="1400" b="1"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Governance</a:t>
              </a:r>
            </a:p>
          </p:txBody>
        </p:sp>
      </p:grpSp>
      <p:grpSp>
        <p:nvGrpSpPr>
          <p:cNvPr id="8286" name="Group 13"/>
          <p:cNvGrpSpPr/>
          <p:nvPr/>
        </p:nvGrpSpPr>
        <p:grpSpPr>
          <a:xfrm>
            <a:off x="4541537" y="2093248"/>
            <a:ext cx="306172" cy="3973974"/>
            <a:chOff x="0" y="0"/>
            <a:chExt cx="306170" cy="3973972"/>
          </a:xfrm>
        </p:grpSpPr>
        <p:sp>
          <p:nvSpPr>
            <p:cNvPr id="8282" name="Straight Connector 14"/>
            <p:cNvSpPr/>
            <p:nvPr/>
          </p:nvSpPr>
          <p:spPr>
            <a:xfrm flipH="1">
              <a:off x="153084" y="0"/>
              <a:ext cx="1" cy="3973973"/>
            </a:xfrm>
            <a:prstGeom prst="line">
              <a:avLst/>
            </a:prstGeom>
            <a:noFill/>
            <a:ln w="19050" cap="rnd">
              <a:solidFill>
                <a:srgbClr val="9A9A9A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grpSp>
          <p:nvGrpSpPr>
            <p:cNvPr id="8285" name="Group 15"/>
            <p:cNvGrpSpPr/>
            <p:nvPr/>
          </p:nvGrpSpPr>
          <p:grpSpPr>
            <a:xfrm>
              <a:off x="0" y="1833530"/>
              <a:ext cx="306171" cy="306911"/>
              <a:chOff x="0" y="0"/>
              <a:chExt cx="306170" cy="306909"/>
            </a:xfrm>
          </p:grpSpPr>
          <p:sp>
            <p:nvSpPr>
              <p:cNvPr id="8283" name="Freeform 94"/>
              <p:cNvSpPr/>
              <p:nvPr/>
            </p:nvSpPr>
            <p:spPr>
              <a:xfrm>
                <a:off x="0" y="-1"/>
                <a:ext cx="306172" cy="30691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0800"/>
                    </a:moveTo>
                    <a:cubicBezTo>
                      <a:pt x="0" y="10800"/>
                      <a:pt x="0" y="10800"/>
                      <a:pt x="0" y="10800"/>
                    </a:cubicBezTo>
                    <a:cubicBezTo>
                      <a:pt x="0" y="4846"/>
                      <a:pt x="4846" y="0"/>
                      <a:pt x="10800" y="0"/>
                    </a:cubicBezTo>
                    <a:cubicBezTo>
                      <a:pt x="16775" y="0"/>
                      <a:pt x="21600" y="4846"/>
                      <a:pt x="21600" y="10800"/>
                    </a:cubicBezTo>
                    <a:cubicBezTo>
                      <a:pt x="21600" y="10800"/>
                      <a:pt x="21600" y="10800"/>
                      <a:pt x="21600" y="10800"/>
                    </a:cubicBezTo>
                    <a:cubicBezTo>
                      <a:pt x="21600" y="16775"/>
                      <a:pt x="16775" y="21600"/>
                      <a:pt x="10800" y="21600"/>
                    </a:cubicBezTo>
                    <a:cubicBezTo>
                      <a:pt x="10800" y="21600"/>
                      <a:pt x="10800" y="21600"/>
                      <a:pt x="10800" y="21600"/>
                    </a:cubicBezTo>
                    <a:cubicBezTo>
                      <a:pt x="4846" y="21600"/>
                      <a:pt x="0" y="16775"/>
                      <a:pt x="0" y="10800"/>
                    </a:cubicBezTo>
                    <a:close/>
                  </a:path>
                </a:pathLst>
              </a:custGeom>
              <a:solidFill>
                <a:srgbClr val="808080"/>
              </a:solidFill>
              <a:ln w="9525" cap="flat">
                <a:solidFill>
                  <a:srgbClr val="80808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6E6F73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  <p:sp>
            <p:nvSpPr>
              <p:cNvPr id="8284" name="Freeform 95"/>
              <p:cNvSpPr/>
              <p:nvPr/>
            </p:nvSpPr>
            <p:spPr>
              <a:xfrm>
                <a:off x="116431" y="42259"/>
                <a:ext cx="120252" cy="22473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61" y="21600"/>
                    </a:moveTo>
                    <a:lnTo>
                      <a:pt x="0" y="20818"/>
                    </a:lnTo>
                    <a:lnTo>
                      <a:pt x="18657" y="10800"/>
                    </a:lnTo>
                    <a:lnTo>
                      <a:pt x="0" y="782"/>
                    </a:lnTo>
                    <a:lnTo>
                      <a:pt x="1461" y="0"/>
                    </a:lnTo>
                    <a:lnTo>
                      <a:pt x="21600" y="10800"/>
                    </a:lnTo>
                    <a:lnTo>
                      <a:pt x="1461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6E6F73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</p:grpSp>
      </p:grpSp>
      <p:sp>
        <p:nvSpPr>
          <p:cNvPr id="41" name="TextBox 2"/>
          <p:cNvSpPr txBox="1"/>
          <p:nvPr/>
        </p:nvSpPr>
        <p:spPr>
          <a:xfrm>
            <a:off x="886080" y="1325902"/>
            <a:ext cx="3422049" cy="4392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89999" tIns="89999" rIns="89999" bIns="89999">
            <a:spAutoFit/>
          </a:bodyPr>
          <a:lstStyle>
            <a:lvl1pPr>
              <a:defRPr b="1">
                <a:solidFill>
                  <a:srgbClr val="008FC8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hangingPunct="0"/>
            <a:r>
              <a:rPr kern="0"/>
              <a:t>Activities</a:t>
            </a:r>
          </a:p>
        </p:txBody>
      </p:sp>
      <p:sp>
        <p:nvSpPr>
          <p:cNvPr id="42" name="TextColumnContent"/>
          <p:cNvSpPr txBox="1"/>
          <p:nvPr/>
        </p:nvSpPr>
        <p:spPr>
          <a:xfrm>
            <a:off x="837137" y="1926865"/>
            <a:ext cx="3422049" cy="39557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 marL="0" lvl="1" indent="114300" hangingPunct="0">
              <a:spcBef>
                <a:spcPts val="300"/>
              </a:spcBef>
              <a:defRPr sz="1600" b="1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b="1" kern="0" dirty="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rPr>
              <a:t>Industrial projects</a:t>
            </a:r>
          </a:p>
          <a:p>
            <a:pPr marL="288925" lvl="1" indent="-174625" hangingPunct="0">
              <a:spcBef>
                <a:spcPts val="300"/>
              </a:spcBef>
              <a:buClr>
                <a:srgbClr val="273D47"/>
              </a:buClr>
              <a:buSzPct val="100000"/>
              <a:buFontTx/>
              <a:buChar char="•"/>
              <a:defRPr sz="16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kern="0" dirty="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rPr>
              <a:t>Adoption</a:t>
            </a:r>
          </a:p>
          <a:p>
            <a:pPr marL="288925" lvl="1" indent="-174625" hangingPunct="0">
              <a:spcBef>
                <a:spcPts val="300"/>
              </a:spcBef>
              <a:buClr>
                <a:srgbClr val="273D47"/>
              </a:buClr>
              <a:buSzPct val="100000"/>
              <a:buFontTx/>
              <a:buChar char="•"/>
              <a:defRPr sz="16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kern="0" dirty="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rPr>
              <a:t>Commercialization</a:t>
            </a:r>
          </a:p>
          <a:p>
            <a:pPr marL="288925" lvl="1" indent="-174625" hangingPunct="0">
              <a:spcBef>
                <a:spcPts val="300"/>
              </a:spcBef>
              <a:buClr>
                <a:srgbClr val="273D47"/>
              </a:buClr>
              <a:buSzPct val="100000"/>
              <a:buFontTx/>
              <a:buChar char="•"/>
              <a:defRPr sz="16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kern="0" dirty="0">
              <a:solidFill>
                <a:srgbClr val="4D4D4D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1" indent="114300" hangingPunct="0">
              <a:spcBef>
                <a:spcPts val="300"/>
              </a:spcBef>
              <a:defRPr sz="1600" b="1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b="1" kern="0" dirty="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rPr>
              <a:t>Training</a:t>
            </a:r>
          </a:p>
          <a:p>
            <a:pPr marL="288925" lvl="1" indent="-174625" hangingPunct="0">
              <a:spcBef>
                <a:spcPts val="300"/>
              </a:spcBef>
              <a:buClr>
                <a:srgbClr val="273D47"/>
              </a:buClr>
              <a:buSzPct val="100000"/>
              <a:buFontTx/>
              <a:buChar char="•"/>
              <a:defRPr sz="16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kern="0" dirty="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rPr>
              <a:t>Industry workforce</a:t>
            </a:r>
          </a:p>
          <a:p>
            <a:pPr marL="288925" lvl="1" indent="-174625" hangingPunct="0">
              <a:spcBef>
                <a:spcPts val="300"/>
              </a:spcBef>
              <a:buClr>
                <a:srgbClr val="273D47"/>
              </a:buClr>
              <a:buSzPct val="100000"/>
              <a:buFontTx/>
              <a:buChar char="•"/>
              <a:defRPr sz="16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kern="0" dirty="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rPr>
              <a:t>Academia</a:t>
            </a:r>
          </a:p>
          <a:p>
            <a:pPr marL="0" lvl="1" indent="114300" hangingPunct="0">
              <a:spcBef>
                <a:spcPts val="300"/>
              </a:spcBef>
              <a:defRPr sz="1600" b="1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 kern="0" dirty="0">
              <a:solidFill>
                <a:srgbClr val="4D4D4D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1" indent="114300" hangingPunct="0">
              <a:spcBef>
                <a:spcPts val="300"/>
              </a:spcBef>
              <a:defRPr sz="1600" b="1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b="1" kern="0" dirty="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rPr>
              <a:t>Scale-up support</a:t>
            </a:r>
          </a:p>
          <a:p>
            <a:pPr marL="288925" lvl="1" indent="-174625" hangingPunct="0">
              <a:spcBef>
                <a:spcPts val="300"/>
              </a:spcBef>
              <a:buClr>
                <a:srgbClr val="273D47"/>
              </a:buClr>
              <a:buSzPct val="100000"/>
              <a:buFontTx/>
              <a:buChar char="•"/>
              <a:defRPr sz="16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kern="0" dirty="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rPr>
              <a:t>Incubation</a:t>
            </a:r>
          </a:p>
          <a:p>
            <a:pPr marL="288925" lvl="1" indent="-174625" hangingPunct="0">
              <a:spcBef>
                <a:spcPts val="300"/>
              </a:spcBef>
              <a:buClr>
                <a:srgbClr val="273D47"/>
              </a:buClr>
              <a:buSzPct val="100000"/>
              <a:buFontTx/>
              <a:buChar char="•"/>
              <a:defRPr sz="16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kern="0" dirty="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rPr>
              <a:t>Growth</a:t>
            </a:r>
          </a:p>
          <a:p>
            <a:pPr marL="0" lvl="1" indent="114300" hangingPunct="0">
              <a:spcBef>
                <a:spcPts val="300"/>
              </a:spcBef>
              <a:defRPr sz="1600" b="1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 kern="0" dirty="0">
              <a:solidFill>
                <a:srgbClr val="4D4D4D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1" indent="114300" hangingPunct="0">
              <a:spcBef>
                <a:spcPts val="300"/>
              </a:spcBef>
              <a:defRPr sz="1600" b="1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b="1" kern="0" dirty="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rPr>
              <a:t>Ecosystem development</a:t>
            </a:r>
          </a:p>
          <a:p>
            <a:pPr marL="288925" lvl="1" indent="-174625" hangingPunct="0">
              <a:spcBef>
                <a:spcPts val="300"/>
              </a:spcBef>
              <a:buClr>
                <a:srgbClr val="273D47"/>
              </a:buClr>
              <a:buSzPct val="100000"/>
              <a:buFontTx/>
              <a:buChar char="•"/>
              <a:defRPr sz="16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kern="0" dirty="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rPr>
              <a:t>Frameworks</a:t>
            </a:r>
          </a:p>
          <a:p>
            <a:pPr marL="288925" lvl="1" indent="-174625" hangingPunct="0">
              <a:spcBef>
                <a:spcPts val="300"/>
              </a:spcBef>
              <a:buClr>
                <a:srgbClr val="273D47"/>
              </a:buClr>
              <a:buSzPct val="100000"/>
              <a:buFontTx/>
              <a:buChar char="•"/>
              <a:defRPr sz="16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kern="0" dirty="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rPr>
              <a:t>Engagement</a:t>
            </a:r>
          </a:p>
        </p:txBody>
      </p:sp>
    </p:spTree>
    <p:extLst>
      <p:ext uri="{BB962C8B-B14F-4D97-AF65-F5344CB8AC3E}">
        <p14:creationId xmlns:p14="http://schemas.microsoft.com/office/powerpoint/2010/main" val="2191911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_DRAFT" val="0"/>
  <p:tag name="EE4P_STYLE_ID" val="f66ZvkMc"/>
  <p:tag name="EE4P_STYLE_NAME" val="IVADO-Scale Grid 16:9"/>
  <p:tag name="EE4P_MASTERWIZARD_MARGINS" val="0"/>
  <p:tag name="THINKCELLPRESENTATIONDONOTDELETE" val="&lt;?xml version=&quot;1.0&quot; encoding=&quot;UTF-16&quot; standalone=&quot;yes&quot;?&gt;&lt;root reqver=&quot;23045&quot;&gt;&lt;version val=&quot;2515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MACROSCOPYRIGHTREPRESENTATIVE" val="BCGMacrosCopyrightRepresentativ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MACROSCOPYRIGHTREPRESENTATIVE" val="BCGMacrosCopyrightRepresentativ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MACROSCOPYRIGHTREPRESENTATIVE" val="BCGMacrosCopyrightRepresentativ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MACROSCOPYRIGHTREPRESENTATIVE" val="BCGMacrosCopyrightRepresentative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MACROSCOPYRIGHTREPRESENTATIVE" val="BCGMacrosCopyrightRepresentativ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MACROSCOPYRIGHTREPRESENTATIVE" val="BCGMacrosCopyrightRepresentativ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BCG Grid 16:9">
  <a:themeElements>
    <a:clrScheme name="ivado grid dark blue">
      <a:dk1>
        <a:srgbClr val="000000"/>
      </a:dk1>
      <a:lt1>
        <a:srgbClr val="FFFFFF"/>
      </a:lt1>
      <a:dk2>
        <a:srgbClr val="043968"/>
      </a:dk2>
      <a:lt2>
        <a:srgbClr val="F2F2F2"/>
      </a:lt2>
      <a:accent1>
        <a:srgbClr val="021628"/>
      </a:accent1>
      <a:accent2>
        <a:srgbClr val="042C50"/>
      </a:accent2>
      <a:accent3>
        <a:srgbClr val="FFFF00"/>
      </a:accent3>
      <a:accent4>
        <a:srgbClr val="0762B5"/>
      </a:accent4>
      <a:accent5>
        <a:srgbClr val="7F7F7F"/>
      </a:accent5>
      <a:accent6>
        <a:srgbClr val="CE1029"/>
      </a:accent6>
      <a:hlink>
        <a:srgbClr val="42A240"/>
      </a:hlink>
      <a:folHlink>
        <a:srgbClr val="F86916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9A9A9A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10.xml><?xml version="1.0" encoding="utf-8"?>
<a:theme xmlns:a="http://schemas.openxmlformats.org/drawingml/2006/main" name="6_BCG Grid 16:9">
  <a:themeElements>
    <a:clrScheme name="ivado grid dark blue">
      <a:dk1>
        <a:srgbClr val="000000"/>
      </a:dk1>
      <a:lt1>
        <a:srgbClr val="FFFFFF"/>
      </a:lt1>
      <a:dk2>
        <a:srgbClr val="043968"/>
      </a:dk2>
      <a:lt2>
        <a:srgbClr val="F2F2F2"/>
      </a:lt2>
      <a:accent1>
        <a:srgbClr val="021628"/>
      </a:accent1>
      <a:accent2>
        <a:srgbClr val="042C50"/>
      </a:accent2>
      <a:accent3>
        <a:srgbClr val="FFFF00"/>
      </a:accent3>
      <a:accent4>
        <a:srgbClr val="0762B5"/>
      </a:accent4>
      <a:accent5>
        <a:srgbClr val="7F7F7F"/>
      </a:accent5>
      <a:accent6>
        <a:srgbClr val="CE1029"/>
      </a:accent6>
      <a:hlink>
        <a:srgbClr val="42A240"/>
      </a:hlink>
      <a:folHlink>
        <a:srgbClr val="F86916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9A9A9A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11.xml><?xml version="1.0" encoding="utf-8"?>
<a:theme xmlns:a="http://schemas.openxmlformats.org/drawingml/2006/main" name="4_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>
        <a:spAutoFit/>
      </a:bodyPr>
      <a:lstStyle>
        <a:defPPr algn="ctr"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387D5B7D-348D-422C-9CE5-FD3CED018F25}" vid="{BB251508-A2CF-4B99-9328-5F6EC9B3C7C5}"/>
    </a:ext>
  </a:extLst>
</a:theme>
</file>

<file path=ppt/theme/theme12.xml><?xml version="1.0" encoding="utf-8"?>
<a:theme xmlns:a="http://schemas.openxmlformats.org/drawingml/2006/main" name="8_BCG Grid 16:9">
  <a:themeElements>
    <a:clrScheme name="ivado grid dark blue">
      <a:dk1>
        <a:srgbClr val="000000"/>
      </a:dk1>
      <a:lt1>
        <a:srgbClr val="FFFFFF"/>
      </a:lt1>
      <a:dk2>
        <a:srgbClr val="043968"/>
      </a:dk2>
      <a:lt2>
        <a:srgbClr val="F2F2F2"/>
      </a:lt2>
      <a:accent1>
        <a:srgbClr val="021628"/>
      </a:accent1>
      <a:accent2>
        <a:srgbClr val="042C50"/>
      </a:accent2>
      <a:accent3>
        <a:srgbClr val="FFFF00"/>
      </a:accent3>
      <a:accent4>
        <a:srgbClr val="0762B5"/>
      </a:accent4>
      <a:accent5>
        <a:srgbClr val="7F7F7F"/>
      </a:accent5>
      <a:accent6>
        <a:srgbClr val="CE1029"/>
      </a:accent6>
      <a:hlink>
        <a:srgbClr val="42A240"/>
      </a:hlink>
      <a:folHlink>
        <a:srgbClr val="F86916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9A9A9A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13.xml><?xml version="1.0" encoding="utf-8"?>
<a:theme xmlns:a="http://schemas.openxmlformats.org/drawingml/2006/main" name="9_BCG Grid 16:9">
  <a:themeElements>
    <a:clrScheme name="ivado grid dark blue">
      <a:dk1>
        <a:srgbClr val="000000"/>
      </a:dk1>
      <a:lt1>
        <a:srgbClr val="FFFFFF"/>
      </a:lt1>
      <a:dk2>
        <a:srgbClr val="043968"/>
      </a:dk2>
      <a:lt2>
        <a:srgbClr val="F2F2F2"/>
      </a:lt2>
      <a:accent1>
        <a:srgbClr val="021628"/>
      </a:accent1>
      <a:accent2>
        <a:srgbClr val="042C50"/>
      </a:accent2>
      <a:accent3>
        <a:srgbClr val="FFFF00"/>
      </a:accent3>
      <a:accent4>
        <a:srgbClr val="0762B5"/>
      </a:accent4>
      <a:accent5>
        <a:srgbClr val="7F7F7F"/>
      </a:accent5>
      <a:accent6>
        <a:srgbClr val="CE1029"/>
      </a:accent6>
      <a:hlink>
        <a:srgbClr val="42A240"/>
      </a:hlink>
      <a:folHlink>
        <a:srgbClr val="F86916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9A9A9A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14.xml><?xml version="1.0" encoding="utf-8"?>
<a:theme xmlns:a="http://schemas.openxmlformats.org/drawingml/2006/main" name="5_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>
        <a:spAutoFit/>
      </a:bodyPr>
      <a:lstStyle>
        <a:defPPr algn="ctr"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387D5B7D-348D-422C-9CE5-FD3CED018F25}" vid="{BB251508-A2CF-4B99-9328-5F6EC9B3C7C5}"/>
    </a:ext>
  </a:extLst>
</a:theme>
</file>

<file path=ppt/theme/theme15.xml><?xml version="1.0" encoding="utf-8"?>
<a:theme xmlns:a="http://schemas.openxmlformats.org/drawingml/2006/main" name="6_Blank">
  <a:themeElements>
    <a:clrScheme name="Custom 2">
      <a:dk1>
        <a:srgbClr val="4D4D4D"/>
      </a:dk1>
      <a:lt1>
        <a:srgbClr val="FFFFFF"/>
      </a:lt1>
      <a:dk2>
        <a:srgbClr val="273D47"/>
      </a:dk2>
      <a:lt2>
        <a:srgbClr val="B2B2B2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008CC8"/>
      </a:hlink>
      <a:folHlink>
        <a:srgbClr val="B2B2B2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  <a:effectLst/>
      </a:spPr>
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>
        <a:spAutoFit/>
      </a:bodyPr>
      <a:lstStyle>
        <a:defPPr algn="ctr"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387D5B7D-348D-422C-9CE5-FD3CED018F25}" vid="{BB251508-A2CF-4B99-9328-5F6EC9B3C7C5}"/>
    </a:ext>
  </a:extLst>
</a:theme>
</file>

<file path=ppt/theme/theme16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>
        <a:spAutoFit/>
      </a:bodyPr>
      <a:lstStyle>
        <a:defPPr algn="ctr"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387D5B7D-348D-422C-9CE5-FD3CED018F25}" vid="{BB251508-A2CF-4B99-9328-5F6EC9B3C7C5}"/>
    </a:ext>
  </a:extLst>
</a:theme>
</file>

<file path=ppt/theme/theme3.xml><?xml version="1.0" encoding="utf-8"?>
<a:theme xmlns:a="http://schemas.openxmlformats.org/drawingml/2006/main" name="1_BCG Grid 16:9">
  <a:themeElements>
    <a:clrScheme name="ivado grid dark blue">
      <a:dk1>
        <a:srgbClr val="000000"/>
      </a:dk1>
      <a:lt1>
        <a:srgbClr val="FFFFFF"/>
      </a:lt1>
      <a:dk2>
        <a:srgbClr val="043968"/>
      </a:dk2>
      <a:lt2>
        <a:srgbClr val="F2F2F2"/>
      </a:lt2>
      <a:accent1>
        <a:srgbClr val="021628"/>
      </a:accent1>
      <a:accent2>
        <a:srgbClr val="042C50"/>
      </a:accent2>
      <a:accent3>
        <a:srgbClr val="FFFF00"/>
      </a:accent3>
      <a:accent4>
        <a:srgbClr val="0762B5"/>
      </a:accent4>
      <a:accent5>
        <a:srgbClr val="7F7F7F"/>
      </a:accent5>
      <a:accent6>
        <a:srgbClr val="CE1029"/>
      </a:accent6>
      <a:hlink>
        <a:srgbClr val="42A240"/>
      </a:hlink>
      <a:folHlink>
        <a:srgbClr val="F86916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9A9A9A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2_BCG Grid 16:9">
  <a:themeElements>
    <a:clrScheme name="ivado grid dark blue">
      <a:dk1>
        <a:srgbClr val="000000"/>
      </a:dk1>
      <a:lt1>
        <a:srgbClr val="FFFFFF"/>
      </a:lt1>
      <a:dk2>
        <a:srgbClr val="043968"/>
      </a:dk2>
      <a:lt2>
        <a:srgbClr val="F2F2F2"/>
      </a:lt2>
      <a:accent1>
        <a:srgbClr val="021628"/>
      </a:accent1>
      <a:accent2>
        <a:srgbClr val="042C50"/>
      </a:accent2>
      <a:accent3>
        <a:srgbClr val="FFFF00"/>
      </a:accent3>
      <a:accent4>
        <a:srgbClr val="0762B5"/>
      </a:accent4>
      <a:accent5>
        <a:srgbClr val="7F7F7F"/>
      </a:accent5>
      <a:accent6>
        <a:srgbClr val="CE1029"/>
      </a:accent6>
      <a:hlink>
        <a:srgbClr val="42A240"/>
      </a:hlink>
      <a:folHlink>
        <a:srgbClr val="F86916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9A9A9A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5.xml><?xml version="1.0" encoding="utf-8"?>
<a:theme xmlns:a="http://schemas.openxmlformats.org/drawingml/2006/main" name="3_BCG Grid 16:9">
  <a:themeElements>
    <a:clrScheme name="ivado grid dark blue">
      <a:dk1>
        <a:srgbClr val="000000"/>
      </a:dk1>
      <a:lt1>
        <a:srgbClr val="FFFFFF"/>
      </a:lt1>
      <a:dk2>
        <a:srgbClr val="043968"/>
      </a:dk2>
      <a:lt2>
        <a:srgbClr val="F2F2F2"/>
      </a:lt2>
      <a:accent1>
        <a:srgbClr val="021628"/>
      </a:accent1>
      <a:accent2>
        <a:srgbClr val="042C50"/>
      </a:accent2>
      <a:accent3>
        <a:srgbClr val="FFFF00"/>
      </a:accent3>
      <a:accent4>
        <a:srgbClr val="0762B5"/>
      </a:accent4>
      <a:accent5>
        <a:srgbClr val="7F7F7F"/>
      </a:accent5>
      <a:accent6>
        <a:srgbClr val="CE1029"/>
      </a:accent6>
      <a:hlink>
        <a:srgbClr val="42A240"/>
      </a:hlink>
      <a:folHlink>
        <a:srgbClr val="F86916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9A9A9A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6.xml><?xml version="1.0" encoding="utf-8"?>
<a:theme xmlns:a="http://schemas.openxmlformats.org/drawingml/2006/main" name="4_BCG Grid 16:9">
  <a:themeElements>
    <a:clrScheme name="ivado grid dark blue">
      <a:dk1>
        <a:srgbClr val="000000"/>
      </a:dk1>
      <a:lt1>
        <a:srgbClr val="FFFFFF"/>
      </a:lt1>
      <a:dk2>
        <a:srgbClr val="043968"/>
      </a:dk2>
      <a:lt2>
        <a:srgbClr val="F2F2F2"/>
      </a:lt2>
      <a:accent1>
        <a:srgbClr val="021628"/>
      </a:accent1>
      <a:accent2>
        <a:srgbClr val="042C50"/>
      </a:accent2>
      <a:accent3>
        <a:srgbClr val="FFFF00"/>
      </a:accent3>
      <a:accent4>
        <a:srgbClr val="0762B5"/>
      </a:accent4>
      <a:accent5>
        <a:srgbClr val="7F7F7F"/>
      </a:accent5>
      <a:accent6>
        <a:srgbClr val="CE1029"/>
      </a:accent6>
      <a:hlink>
        <a:srgbClr val="42A240"/>
      </a:hlink>
      <a:folHlink>
        <a:srgbClr val="F86916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9A9A9A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7.xml><?xml version="1.0" encoding="utf-8"?>
<a:theme xmlns:a="http://schemas.openxmlformats.org/drawingml/2006/main" name="2_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>
        <a:spAutoFit/>
      </a:bodyPr>
      <a:lstStyle>
        <a:defPPr algn="ctr"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387D5B7D-348D-422C-9CE5-FD3CED018F25}" vid="{BB251508-A2CF-4B99-9328-5F6EC9B3C7C5}"/>
    </a:ext>
  </a:extLst>
</a:theme>
</file>

<file path=ppt/theme/theme8.xml><?xml version="1.0" encoding="utf-8"?>
<a:theme xmlns:a="http://schemas.openxmlformats.org/drawingml/2006/main" name="3_Blank">
  <a:themeElements>
    <a:clrScheme name="Custom 2">
      <a:dk1>
        <a:srgbClr val="4D4D4D"/>
      </a:dk1>
      <a:lt1>
        <a:srgbClr val="FFFFFF"/>
      </a:lt1>
      <a:dk2>
        <a:srgbClr val="273D47"/>
      </a:dk2>
      <a:lt2>
        <a:srgbClr val="B2B2B2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008CC8"/>
      </a:hlink>
      <a:folHlink>
        <a:srgbClr val="B2B2B2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  <a:effectLst/>
      </a:spPr>
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>
        <a:spAutoFit/>
      </a:bodyPr>
      <a:lstStyle>
        <a:defPPr algn="ctr"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387D5B7D-348D-422C-9CE5-FD3CED018F25}" vid="{BB251508-A2CF-4B99-9328-5F6EC9B3C7C5}"/>
    </a:ext>
  </a:extLst>
</a:theme>
</file>

<file path=ppt/theme/theme9.xml><?xml version="1.0" encoding="utf-8"?>
<a:theme xmlns:a="http://schemas.openxmlformats.org/drawingml/2006/main" name="5_BCG Grid 16:9">
  <a:themeElements>
    <a:clrScheme name="ivado grid dark blue">
      <a:dk1>
        <a:srgbClr val="000000"/>
      </a:dk1>
      <a:lt1>
        <a:srgbClr val="FFFFFF"/>
      </a:lt1>
      <a:dk2>
        <a:srgbClr val="043968"/>
      </a:dk2>
      <a:lt2>
        <a:srgbClr val="F2F2F2"/>
      </a:lt2>
      <a:accent1>
        <a:srgbClr val="021628"/>
      </a:accent1>
      <a:accent2>
        <a:srgbClr val="042C50"/>
      </a:accent2>
      <a:accent3>
        <a:srgbClr val="FFFF00"/>
      </a:accent3>
      <a:accent4>
        <a:srgbClr val="0762B5"/>
      </a:accent4>
      <a:accent5>
        <a:srgbClr val="7F7F7F"/>
      </a:accent5>
      <a:accent6>
        <a:srgbClr val="CE1029"/>
      </a:accent6>
      <a:hlink>
        <a:srgbClr val="42A240"/>
      </a:hlink>
      <a:folHlink>
        <a:srgbClr val="F86916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9A9A9A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354</TotalTime>
  <Words>274</Words>
  <Application>Microsoft Office PowerPoint</Application>
  <PresentationFormat>Widescreen</PresentationFormat>
  <Paragraphs>112</Paragraphs>
  <Slides>5</Slides>
  <Notes>1</Notes>
  <HiddenSlides>0</HiddenSlides>
  <MMClips>0</MMClips>
  <ScaleCrop>false</ScaleCrop>
  <HeadingPairs>
    <vt:vector size="10" baseType="variant">
      <vt:variant>
        <vt:lpstr>Fonts Used</vt:lpstr>
      </vt:variant>
      <vt:variant>
        <vt:i4>4</vt:i4>
      </vt:variant>
      <vt:variant>
        <vt:lpstr>Theme</vt:lpstr>
      </vt:variant>
      <vt:variant>
        <vt:i4>1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  <vt:variant>
        <vt:lpstr>Custom Shows</vt:lpstr>
      </vt:variant>
      <vt:variant>
        <vt:i4>1</vt:i4>
      </vt:variant>
    </vt:vector>
  </HeadingPairs>
  <TitlesOfParts>
    <vt:vector size="26" baseType="lpstr">
      <vt:lpstr>Arial</vt:lpstr>
      <vt:lpstr>Calibri</vt:lpstr>
      <vt:lpstr>Segoe UI</vt:lpstr>
      <vt:lpstr>Trebuchet MS</vt:lpstr>
      <vt:lpstr>BCG Grid 16:9</vt:lpstr>
      <vt:lpstr>1_Blank</vt:lpstr>
      <vt:lpstr>1_BCG Grid 16:9</vt:lpstr>
      <vt:lpstr>2_BCG Grid 16:9</vt:lpstr>
      <vt:lpstr>3_BCG Grid 16:9</vt:lpstr>
      <vt:lpstr>4_BCG Grid 16:9</vt:lpstr>
      <vt:lpstr>2_Blank</vt:lpstr>
      <vt:lpstr>3_Blank</vt:lpstr>
      <vt:lpstr>5_BCG Grid 16:9</vt:lpstr>
      <vt:lpstr>6_BCG Grid 16:9</vt:lpstr>
      <vt:lpstr>4_Blank</vt:lpstr>
      <vt:lpstr>8_BCG Grid 16:9</vt:lpstr>
      <vt:lpstr>9_BCG Grid 16:9</vt:lpstr>
      <vt:lpstr>5_Blank</vt:lpstr>
      <vt:lpstr>6_Blank</vt:lpstr>
      <vt:lpstr>think-cell Slide</vt:lpstr>
      <vt:lpstr>The Innovation Supercluster Initiative</vt:lpstr>
      <vt:lpstr>SCALE AI's strategy and what success will look like</vt:lpstr>
      <vt:lpstr>118 members to date incl. 80 industrial partners </vt:lpstr>
      <vt:lpstr>AI-enabled SC transformation based on collaboration… several steps  </vt:lpstr>
      <vt:lpstr>SCALE AI's scope of work</vt:lpstr>
      <vt:lpstr>Format Guide Workshop</vt:lpstr>
    </vt:vector>
  </TitlesOfParts>
  <Manager/>
  <Company>Efficient Elements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The Boston Consulting Group</dc:subject>
  <dc:creator>wildfire.login</dc:creator>
  <cp:keywords/>
  <dc:description/>
  <cp:lastModifiedBy>Mallet, Tristan</cp:lastModifiedBy>
  <cp:revision>721</cp:revision>
  <cp:lastPrinted>2018-04-30T16:56:45Z</cp:lastPrinted>
  <dcterms:created xsi:type="dcterms:W3CDTF">2016-11-04T11:46:04Z</dcterms:created>
  <dcterms:modified xsi:type="dcterms:W3CDTF">2018-10-22T22:06:23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Template Name">
    <vt:lpwstr>16x9</vt:lpwstr>
  </property>
</Properties>
</file>